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diagrams/data1.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charts/colors1.xml" ContentType="application/vnd.ms-office.chartcolorstyl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ustom.xml" ContentType="application/vnd.openxmlformats-officedocument.custom-properti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1" r:id="rId2"/>
    <p:sldMasterId id="2147483765" r:id="rId3"/>
    <p:sldMasterId id="2147483775" r:id="rId4"/>
    <p:sldMasterId id="2147483783" r:id="rId5"/>
  </p:sldMasterIdLst>
  <p:notesMasterIdLst>
    <p:notesMasterId r:id="rId13"/>
  </p:notesMasterIdLst>
  <p:handoutMasterIdLst>
    <p:handoutMasterId r:id="rId14"/>
  </p:handoutMasterIdLst>
  <p:sldIdLst>
    <p:sldId id="261" r:id="rId6"/>
    <p:sldId id="325" r:id="rId7"/>
    <p:sldId id="2147378612" r:id="rId8"/>
    <p:sldId id="2147378607" r:id="rId9"/>
    <p:sldId id="2147472995" r:id="rId10"/>
    <p:sldId id="2147483271" r:id="rId11"/>
    <p:sldId id="214737860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A1E85DD-E662-4FF4-8AC6-C391D7B26C81}">
          <p14:sldIdLst>
            <p14:sldId id="261"/>
            <p14:sldId id="325"/>
            <p14:sldId id="2147378612"/>
            <p14:sldId id="2147378607"/>
            <p14:sldId id="2147472995"/>
            <p14:sldId id="2147483271"/>
            <p14:sldId id="214737860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74" autoAdjust="0"/>
    <p:restoredTop sz="91315" autoAdjust="0"/>
  </p:normalViewPr>
  <p:slideViewPr>
    <p:cSldViewPr snapToGrid="0" showGuides="1">
      <p:cViewPr varScale="1">
        <p:scale>
          <a:sx n="139" d="100"/>
          <a:sy n="139" d="100"/>
        </p:scale>
        <p:origin x="2876" y="3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https://energinet-my.sharepoint.com/personal/tsb_energinet_dk/Documents/baggrundsdata-til-miljoberetningen-2024.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2"/>
          <c:tx>
            <c:strRef>
              <c:f>Baggrundsdata!$B$68</c:f>
              <c:strCache>
                <c:ptCount val="1"/>
                <c:pt idx="0">
                  <c:v>Elforbrug</c:v>
                </c:pt>
              </c:strCache>
            </c:strRef>
          </c:tx>
          <c:spPr>
            <a:ln w="28575" cap="rnd">
              <a:solidFill>
                <a:schemeClr val="accent3"/>
              </a:solidFill>
              <a:round/>
            </a:ln>
            <a:effectLst/>
          </c:spPr>
          <c:marker>
            <c:symbol val="none"/>
          </c:marker>
          <c:cat>
            <c:numRef>
              <c:f>Baggrundsdata!$W$22:$AK$22</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extLst/>
            </c:numRef>
          </c:cat>
          <c:val>
            <c:numRef>
              <c:f>Baggrundsdata!$W$68:$AK$68</c:f>
              <c:numCache>
                <c:formatCode>General</c:formatCode>
                <c:ptCount val="15"/>
                <c:pt idx="0">
                  <c:v>100</c:v>
                </c:pt>
                <c:pt idx="1">
                  <c:v>97.308457941952867</c:v>
                </c:pt>
                <c:pt idx="2">
                  <c:v>96.493408742347</c:v>
                </c:pt>
                <c:pt idx="3">
                  <c:v>95.924877694630794</c:v>
                </c:pt>
                <c:pt idx="4">
                  <c:v>94.327649268742761</c:v>
                </c:pt>
                <c:pt idx="5">
                  <c:v>94.737042999956415</c:v>
                </c:pt>
                <c:pt idx="6">
                  <c:v>95.783067044169684</c:v>
                </c:pt>
                <c:pt idx="7">
                  <c:v>95.863184251426247</c:v>
                </c:pt>
                <c:pt idx="8">
                  <c:v>97.21077789952507</c:v>
                </c:pt>
                <c:pt idx="9">
                  <c:v>97.159354838825337</c:v>
                </c:pt>
                <c:pt idx="10">
                  <c:v>98.028702563908794</c:v>
                </c:pt>
                <c:pt idx="11">
                  <c:v>103.42675941270463</c:v>
                </c:pt>
                <c:pt idx="12">
                  <c:v>100.38870661560095</c:v>
                </c:pt>
                <c:pt idx="13">
                  <c:v>101.73484235534063</c:v>
                </c:pt>
                <c:pt idx="14">
                  <c:v>108.2712261786226</c:v>
                </c:pt>
              </c:numCache>
              <c:extLst/>
            </c:numRef>
          </c:val>
          <c:smooth val="0"/>
          <c:extLst>
            <c:ext xmlns:c16="http://schemas.microsoft.com/office/drawing/2014/chart" uri="{C3380CC4-5D6E-409C-BE32-E72D297353CC}">
              <c16:uniqueId val="{00000000-49F0-49EF-A56A-1BAB779BCD9E}"/>
            </c:ext>
          </c:extLst>
        </c:ser>
        <c:ser>
          <c:idx val="3"/>
          <c:order val="3"/>
          <c:tx>
            <c:strRef>
              <c:f>Baggrundsdata!$B$71</c:f>
              <c:strCache>
                <c:ptCount val="1"/>
                <c:pt idx="0">
                  <c:v>VE</c:v>
                </c:pt>
              </c:strCache>
            </c:strRef>
          </c:tx>
          <c:spPr>
            <a:ln w="28575" cap="rnd">
              <a:solidFill>
                <a:schemeClr val="accent4"/>
              </a:solidFill>
              <a:round/>
            </a:ln>
            <a:effectLst/>
          </c:spPr>
          <c:marker>
            <c:symbol val="none"/>
          </c:marker>
          <c:cat>
            <c:numRef>
              <c:f>Baggrundsdata!$W$22:$AK$22</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extLst/>
            </c:numRef>
          </c:cat>
          <c:val>
            <c:numRef>
              <c:f>Baggrundsdata!$W$71:$AK$71</c:f>
              <c:numCache>
                <c:formatCode>General</c:formatCode>
                <c:ptCount val="15"/>
                <c:pt idx="0">
                  <c:v>100</c:v>
                </c:pt>
                <c:pt idx="1">
                  <c:v>125.07065237642827</c:v>
                </c:pt>
                <c:pt idx="2">
                  <c:v>132.83686116113921</c:v>
                </c:pt>
                <c:pt idx="3">
                  <c:v>149.09793123751118</c:v>
                </c:pt>
                <c:pt idx="4">
                  <c:v>175.13965784706221</c:v>
                </c:pt>
                <c:pt idx="5">
                  <c:v>188.75903241664383</c:v>
                </c:pt>
                <c:pt idx="6">
                  <c:v>173.2375071591988</c:v>
                </c:pt>
                <c:pt idx="7">
                  <c:v>199.37017497322498</c:v>
                </c:pt>
                <c:pt idx="8">
                  <c:v>190.22343362182795</c:v>
                </c:pt>
                <c:pt idx="9">
                  <c:v>219.3349321173263</c:v>
                </c:pt>
                <c:pt idx="10">
                  <c:v>224.23941419382714</c:v>
                </c:pt>
                <c:pt idx="11">
                  <c:v>221.77940087371343</c:v>
                </c:pt>
                <c:pt idx="12">
                  <c:v>271.87119512651208</c:v>
                </c:pt>
                <c:pt idx="13">
                  <c:v>292.07886122890852</c:v>
                </c:pt>
                <c:pt idx="14">
                  <c:v>311.73666651117014</c:v>
                </c:pt>
              </c:numCache>
              <c:extLst/>
            </c:numRef>
          </c:val>
          <c:smooth val="0"/>
          <c:extLst>
            <c:ext xmlns:c16="http://schemas.microsoft.com/office/drawing/2014/chart" uri="{C3380CC4-5D6E-409C-BE32-E72D297353CC}">
              <c16:uniqueId val="{00000001-49F0-49EF-A56A-1BAB779BCD9E}"/>
            </c:ext>
          </c:extLst>
        </c:ser>
        <c:dLbls>
          <c:showLegendKey val="0"/>
          <c:showVal val="0"/>
          <c:showCatName val="0"/>
          <c:showSerName val="0"/>
          <c:showPercent val="0"/>
          <c:showBubbleSize val="0"/>
        </c:dLbls>
        <c:smooth val="0"/>
        <c:axId val="2779216"/>
        <c:axId val="2781616"/>
        <c:extLst>
          <c:ext xmlns:c15="http://schemas.microsoft.com/office/drawing/2012/chart" uri="{02D57815-91ED-43cb-92C2-25804820EDAC}">
            <c15:filteredLineSeries>
              <c15:ser>
                <c:idx val="0"/>
                <c:order val="0"/>
                <c:spPr>
                  <a:ln w="28575" cap="rnd">
                    <a:solidFill>
                      <a:schemeClr val="accent1"/>
                    </a:solidFill>
                    <a:round/>
                  </a:ln>
                  <a:effectLst/>
                </c:spPr>
                <c:marker>
                  <c:symbol val="none"/>
                </c:marker>
                <c:cat>
                  <c:numRef>
                    <c:extLst>
                      <c:ext uri="{02D57815-91ED-43cb-92C2-25804820EDAC}">
                        <c15:formulaRef>
                          <c15:sqref>Baggrundsdata!$W$22:$AK$22</c15:sqref>
                        </c15:formulaRef>
                      </c:ext>
                    </c:extLst>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extLst>
                      <c:ext uri="{02D57815-91ED-43cb-92C2-25804820EDAC}">
                        <c15:formulaRef>
                          <c15:sqref>Baggrundsdata!$B$68</c15:sqref>
                        </c15:formulaRef>
                      </c:ext>
                    </c:extLst>
                    <c:numCache>
                      <c:formatCode>General</c:formatCode>
                      <c:ptCount val="1"/>
                      <c:pt idx="0">
                        <c:v>0</c:v>
                      </c:pt>
                    </c:numCache>
                  </c:numRef>
                </c:val>
                <c:smooth val="0"/>
                <c:extLst>
                  <c:ext xmlns:c16="http://schemas.microsoft.com/office/drawing/2014/chart" uri="{C3380CC4-5D6E-409C-BE32-E72D297353CC}">
                    <c16:uniqueId val="{00000002-49F0-49EF-A56A-1BAB779BCD9E}"/>
                  </c:ext>
                </c:extLst>
              </c15:ser>
            </c15:filteredLineSeries>
            <c15:filteredLineSeries>
              <c15:ser>
                <c:idx val="1"/>
                <c:order val="1"/>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Baggrundsdata!$W$22:$AK$22</c15:sqref>
                        </c15:formulaRef>
                      </c:ext>
                    </c:extLst>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extLst xmlns:c15="http://schemas.microsoft.com/office/drawing/2012/chart">
                      <c:ext xmlns:c15="http://schemas.microsoft.com/office/drawing/2012/chart" uri="{02D57815-91ED-43cb-92C2-25804820EDAC}">
                        <c15:formulaRef>
                          <c15:sqref>Baggrundsdata!$B$70</c15:sqref>
                        </c15:formulaRef>
                      </c:ext>
                    </c:extLst>
                    <c:numCache>
                      <c:formatCode>General</c:formatCode>
                      <c:ptCount val="1"/>
                      <c:pt idx="0">
                        <c:v>0</c:v>
                      </c:pt>
                    </c:numCache>
                  </c:numRef>
                </c:val>
                <c:smooth val="0"/>
                <c:extLst xmlns:c15="http://schemas.microsoft.com/office/drawing/2012/chart">
                  <c:ext xmlns:c16="http://schemas.microsoft.com/office/drawing/2014/chart" uri="{C3380CC4-5D6E-409C-BE32-E72D297353CC}">
                    <c16:uniqueId val="{00000003-49F0-49EF-A56A-1BAB779BCD9E}"/>
                  </c:ext>
                </c:extLst>
              </c15:ser>
            </c15:filteredLineSeries>
          </c:ext>
        </c:extLst>
      </c:lineChart>
      <c:catAx>
        <c:axId val="277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da-DK"/>
          </a:p>
        </c:txPr>
        <c:crossAx val="2781616"/>
        <c:crosses val="autoZero"/>
        <c:auto val="1"/>
        <c:lblAlgn val="ctr"/>
        <c:lblOffset val="100"/>
        <c:noMultiLvlLbl val="0"/>
      </c:catAx>
      <c:valAx>
        <c:axId val="27816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da-DK"/>
          </a:p>
        </c:txPr>
        <c:crossAx val="2779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bg1"/>
          </a:solidFill>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182FFF-B81E-46DB-A22C-AB0C49574707}"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da-DK"/>
        </a:p>
      </dgm:t>
    </dgm:pt>
    <dgm:pt modelId="{1E3B88E8-CA11-402A-B6AC-4169C8B8CBFE}">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ADEQUACY</a:t>
          </a:r>
        </a:p>
      </dgm:t>
    </dgm:pt>
    <dgm:pt modelId="{25CF42EB-6727-4B8E-8D3B-969853E83DD1}" type="parTrans" cxnId="{AB335148-8E00-43EF-ADD6-32191FC53A5D}">
      <dgm:prSet/>
      <dgm:spPr/>
      <dgm:t>
        <a:bodyPr/>
        <a:lstStyle/>
        <a:p>
          <a:endParaRPr lang="da-DK"/>
        </a:p>
      </dgm:t>
    </dgm:pt>
    <dgm:pt modelId="{A751BA2B-1F42-4E5D-B590-B1990C2B8E71}" type="sibTrans" cxnId="{AB335148-8E00-43EF-ADD6-32191FC53A5D}">
      <dgm:prSet/>
      <dgm:spPr/>
      <dgm:t>
        <a:bodyPr/>
        <a:lstStyle/>
        <a:p>
          <a:endParaRPr lang="da-DK"/>
        </a:p>
      </dgm:t>
    </dgm:pt>
    <dgm:pt modelId="{E72C292B-1773-414A-8A1B-23E5215E73CB}">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ANCILLARY SERVICES AND BALANCING</a:t>
          </a:r>
        </a:p>
      </dgm:t>
    </dgm:pt>
    <dgm:pt modelId="{95CFFC4A-5817-4E90-9CF6-CFF5A130541D}" type="parTrans" cxnId="{CA3416B0-E169-44AA-B12D-60C901C7EA17}">
      <dgm:prSet/>
      <dgm:spPr/>
      <dgm:t>
        <a:bodyPr/>
        <a:lstStyle/>
        <a:p>
          <a:endParaRPr lang="da-DK"/>
        </a:p>
      </dgm:t>
    </dgm:pt>
    <dgm:pt modelId="{585D89B1-7588-4DB5-AA04-8798408031D8}" type="sibTrans" cxnId="{CA3416B0-E169-44AA-B12D-60C901C7EA17}">
      <dgm:prSet/>
      <dgm:spPr/>
      <dgm:t>
        <a:bodyPr/>
        <a:lstStyle/>
        <a:p>
          <a:endParaRPr lang="da-DK"/>
        </a:p>
      </dgm:t>
    </dgm:pt>
    <dgm:pt modelId="{CF5B1EF0-4584-4818-B956-812AB2841509}">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DYNAMIC STABILITY</a:t>
          </a:r>
        </a:p>
      </dgm:t>
    </dgm:pt>
    <dgm:pt modelId="{AE59AFAD-DCDA-450A-BA6C-F39CAD86EABB}" type="parTrans" cxnId="{695E65C6-A3E2-4C2B-8279-DFBA56267CC8}">
      <dgm:prSet/>
      <dgm:spPr/>
      <dgm:t>
        <a:bodyPr/>
        <a:lstStyle/>
        <a:p>
          <a:endParaRPr lang="da-DK"/>
        </a:p>
      </dgm:t>
    </dgm:pt>
    <dgm:pt modelId="{9648FE11-77F7-4893-BDD6-13A660569A74}" type="sibTrans" cxnId="{695E65C6-A3E2-4C2B-8279-DFBA56267CC8}">
      <dgm:prSet/>
      <dgm:spPr/>
      <dgm:t>
        <a:bodyPr/>
        <a:lstStyle/>
        <a:p>
          <a:endParaRPr lang="da-DK"/>
        </a:p>
      </dgm:t>
    </dgm:pt>
    <dgm:pt modelId="{1375E01B-0E3F-41FC-9352-8563AF458144}">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CYBER SECURITY AND PREPAREDNESS</a:t>
          </a:r>
        </a:p>
      </dgm:t>
    </dgm:pt>
    <dgm:pt modelId="{B7209075-47C5-4A79-BB03-8391E5085B62}" type="parTrans" cxnId="{BBA18DB9-2BA8-4735-8D40-15519243A5FA}">
      <dgm:prSet/>
      <dgm:spPr/>
      <dgm:t>
        <a:bodyPr/>
        <a:lstStyle/>
        <a:p>
          <a:endParaRPr lang="da-DK"/>
        </a:p>
      </dgm:t>
    </dgm:pt>
    <dgm:pt modelId="{73AC26C6-EE89-439D-8E68-ACA1F3388DF8}" type="sibTrans" cxnId="{BBA18DB9-2BA8-4735-8D40-15519243A5FA}">
      <dgm:prSet/>
      <dgm:spPr/>
      <dgm:t>
        <a:bodyPr/>
        <a:lstStyle/>
        <a:p>
          <a:endParaRPr lang="da-DK"/>
        </a:p>
      </dgm:t>
    </dgm:pt>
    <dgm:pt modelId="{78079BBF-C271-49C2-A633-28E6EB10A0EF}">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REQUIREMENTS AND GRID CODES</a:t>
          </a:r>
        </a:p>
      </dgm:t>
    </dgm:pt>
    <dgm:pt modelId="{9966B841-05C8-4F37-B705-655C601032D9}" type="parTrans" cxnId="{9145E5CD-86DC-45AD-998B-9F9663C522BA}">
      <dgm:prSet/>
      <dgm:spPr/>
      <dgm:t>
        <a:bodyPr/>
        <a:lstStyle/>
        <a:p>
          <a:endParaRPr lang="da-DK"/>
        </a:p>
      </dgm:t>
    </dgm:pt>
    <dgm:pt modelId="{5863DFD8-B42D-47D2-B449-9ED46939EF26}" type="sibTrans" cxnId="{9145E5CD-86DC-45AD-998B-9F9663C522BA}">
      <dgm:prSet/>
      <dgm:spPr/>
      <dgm:t>
        <a:bodyPr/>
        <a:lstStyle/>
        <a:p>
          <a:endParaRPr lang="da-DK"/>
        </a:p>
      </dgm:t>
    </dgm:pt>
    <dgm:pt modelId="{18C6DCBB-0C5C-4A5D-A0E1-91618AE4072C}">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PEOPLE AND PROCESSES</a:t>
          </a:r>
        </a:p>
      </dgm:t>
    </dgm:pt>
    <dgm:pt modelId="{555FCF6A-FD1F-459E-BF53-4AED9A2F6405}" type="parTrans" cxnId="{A0DCA155-9219-42DD-8E77-115CFBE4C33D}">
      <dgm:prSet/>
      <dgm:spPr/>
      <dgm:t>
        <a:bodyPr/>
        <a:lstStyle/>
        <a:p>
          <a:endParaRPr lang="da-DK"/>
        </a:p>
      </dgm:t>
    </dgm:pt>
    <dgm:pt modelId="{06308051-2B4A-4D95-88C5-AAE2AE4EF476}" type="sibTrans" cxnId="{A0DCA155-9219-42DD-8E77-115CFBE4C33D}">
      <dgm:prSet/>
      <dgm:spPr/>
      <dgm:t>
        <a:bodyPr/>
        <a:lstStyle/>
        <a:p>
          <a:endParaRPr lang="da-DK"/>
        </a:p>
      </dgm:t>
    </dgm:pt>
    <dgm:pt modelId="{9A073A25-A449-4BA6-95FA-758ACFB874FA}">
      <dgm:prSet phldrT="[Tekst]" custT="1"/>
      <dgm:spPr>
        <a:noFill/>
        <a:ln>
          <a:noFill/>
        </a:ln>
      </dgm:spPr>
      <dgm:t>
        <a:bodyPr/>
        <a:lstStyle/>
        <a:p>
          <a:r>
            <a:rPr lang="da-DK" sz="2000" b="1" dirty="0">
              <a:solidFill>
                <a:schemeClr val="bg1"/>
              </a:solidFill>
              <a:effectLst>
                <a:outerShdw blurRad="38100" dist="38100" dir="2700000" algn="tl">
                  <a:srgbClr val="000000">
                    <a:alpha val="43137"/>
                  </a:srgbClr>
                </a:outerShdw>
              </a:effectLst>
            </a:rPr>
            <a:t>INFRASTRUCTURE</a:t>
          </a:r>
        </a:p>
      </dgm:t>
    </dgm:pt>
    <dgm:pt modelId="{B7E51DAF-CAE7-4D5F-B2F0-34E4F916FC9F}" type="parTrans" cxnId="{341DB78B-5F6E-491F-9A2A-ED3D70F173CB}">
      <dgm:prSet/>
      <dgm:spPr/>
      <dgm:t>
        <a:bodyPr/>
        <a:lstStyle/>
        <a:p>
          <a:endParaRPr lang="da-DK"/>
        </a:p>
      </dgm:t>
    </dgm:pt>
    <dgm:pt modelId="{AD1032E6-CBB8-48B9-9DFB-01A469BE401B}" type="sibTrans" cxnId="{341DB78B-5F6E-491F-9A2A-ED3D70F173CB}">
      <dgm:prSet/>
      <dgm:spPr>
        <a:ln>
          <a:solidFill>
            <a:schemeClr val="accent2"/>
          </a:solidFill>
        </a:ln>
      </dgm:spPr>
      <dgm:t>
        <a:bodyPr/>
        <a:lstStyle/>
        <a:p>
          <a:endParaRPr lang="da-DK"/>
        </a:p>
      </dgm:t>
    </dgm:pt>
    <dgm:pt modelId="{BB94C057-723C-49E6-8A3C-D30A289C2E27}" type="pres">
      <dgm:prSet presAssocID="{41182FFF-B81E-46DB-A22C-AB0C49574707}" presName="Name0" presStyleCnt="0">
        <dgm:presLayoutVars>
          <dgm:chMax val="7"/>
          <dgm:chPref val="7"/>
          <dgm:dir/>
        </dgm:presLayoutVars>
      </dgm:prSet>
      <dgm:spPr/>
    </dgm:pt>
    <dgm:pt modelId="{AFB167DE-F9DF-43A6-8486-3AE5CCA97814}" type="pres">
      <dgm:prSet presAssocID="{41182FFF-B81E-46DB-A22C-AB0C49574707}" presName="Name1" presStyleCnt="0"/>
      <dgm:spPr/>
    </dgm:pt>
    <dgm:pt modelId="{514873CD-D96C-485C-BFAB-C3F3C2D29A60}" type="pres">
      <dgm:prSet presAssocID="{41182FFF-B81E-46DB-A22C-AB0C49574707}" presName="cycle" presStyleCnt="0"/>
      <dgm:spPr/>
    </dgm:pt>
    <dgm:pt modelId="{523D2683-3E44-4792-86D2-8D712D031E7F}" type="pres">
      <dgm:prSet presAssocID="{41182FFF-B81E-46DB-A22C-AB0C49574707}" presName="srcNode" presStyleLbl="node1" presStyleIdx="0" presStyleCnt="7"/>
      <dgm:spPr/>
    </dgm:pt>
    <dgm:pt modelId="{3EC485A7-2B7A-4A39-8E21-85D316FA7A1C}" type="pres">
      <dgm:prSet presAssocID="{41182FFF-B81E-46DB-A22C-AB0C49574707}" presName="conn" presStyleLbl="parChTrans1D2" presStyleIdx="0" presStyleCnt="1"/>
      <dgm:spPr/>
    </dgm:pt>
    <dgm:pt modelId="{A20006F5-132C-4070-B7D5-2EF7CEAFA5B9}" type="pres">
      <dgm:prSet presAssocID="{41182FFF-B81E-46DB-A22C-AB0C49574707}" presName="extraNode" presStyleLbl="node1" presStyleIdx="0" presStyleCnt="7"/>
      <dgm:spPr/>
    </dgm:pt>
    <dgm:pt modelId="{E1F70580-618F-43B2-A10E-16F58F741A0E}" type="pres">
      <dgm:prSet presAssocID="{41182FFF-B81E-46DB-A22C-AB0C49574707}" presName="dstNode" presStyleLbl="node1" presStyleIdx="0" presStyleCnt="7"/>
      <dgm:spPr/>
    </dgm:pt>
    <dgm:pt modelId="{6D3D39F1-B08A-4E05-A617-EA0D64255683}" type="pres">
      <dgm:prSet presAssocID="{9A073A25-A449-4BA6-95FA-758ACFB874FA}" presName="text_1" presStyleLbl="node1" presStyleIdx="0" presStyleCnt="7">
        <dgm:presLayoutVars>
          <dgm:bulletEnabled val="1"/>
        </dgm:presLayoutVars>
      </dgm:prSet>
      <dgm:spPr/>
    </dgm:pt>
    <dgm:pt modelId="{D8B3172B-3B2F-4A04-8D7D-90E3624AA67B}" type="pres">
      <dgm:prSet presAssocID="{9A073A25-A449-4BA6-95FA-758ACFB874FA}" presName="accent_1" presStyleCnt="0"/>
      <dgm:spPr/>
    </dgm:pt>
    <dgm:pt modelId="{C7B7B358-8AA7-4CC7-B295-9D6F5232D5FB}" type="pres">
      <dgm:prSet presAssocID="{9A073A25-A449-4BA6-95FA-758ACFB874FA}" presName="accentRepeatNode" presStyleLbl="solidFgAcc1" presStyleIdx="0" presStyleCnt="7"/>
      <dgm:spPr>
        <a:xfrm>
          <a:off x="59927" y="153073"/>
          <a:ext cx="509945" cy="509945"/>
        </a:xfrm>
        <a:prstGeom prst="ellipse">
          <a:avLst/>
        </a:prstGeom>
        <a:solidFill>
          <a:schemeClr val="tx2">
            <a:lumMod val="60000"/>
            <a:lumOff val="40000"/>
          </a:schemeClr>
        </a:solidFill>
        <a:ln w="12700" cap="flat" cmpd="sng" algn="ctr">
          <a:solidFill>
            <a:schemeClr val="accent2"/>
          </a:solidFill>
          <a:prstDash val="solid"/>
          <a:miter lim="800000"/>
        </a:ln>
        <a:effectLst/>
      </dgm:spPr>
    </dgm:pt>
    <dgm:pt modelId="{F8E18A05-5A7D-43E6-9F54-A4F738D61780}" type="pres">
      <dgm:prSet presAssocID="{1E3B88E8-CA11-402A-B6AC-4169C8B8CBFE}" presName="text_2" presStyleLbl="node1" presStyleIdx="1" presStyleCnt="7">
        <dgm:presLayoutVars>
          <dgm:bulletEnabled val="1"/>
        </dgm:presLayoutVars>
      </dgm:prSet>
      <dgm:spPr/>
    </dgm:pt>
    <dgm:pt modelId="{B08989EF-FA8D-4E16-9CA4-B6C6F12A811A}" type="pres">
      <dgm:prSet presAssocID="{1E3B88E8-CA11-402A-B6AC-4169C8B8CBFE}" presName="accent_2" presStyleCnt="0"/>
      <dgm:spPr/>
    </dgm:pt>
    <dgm:pt modelId="{AEBFDB14-A08A-4D4D-B277-39E4FB0D57E6}" type="pres">
      <dgm:prSet presAssocID="{1E3B88E8-CA11-402A-B6AC-4169C8B8CBFE}" presName="accentRepeatNode" presStyleLbl="solidFgAcc1" presStyleIdx="1" presStyleCnt="7"/>
      <dgm:spPr>
        <a:xfrm>
          <a:off x="429368" y="765366"/>
          <a:ext cx="509945" cy="509945"/>
        </a:xfrm>
        <a:prstGeom prst="ellipse">
          <a:avLst/>
        </a:prstGeom>
        <a:solidFill>
          <a:schemeClr val="tx2">
            <a:lumMod val="60000"/>
            <a:lumOff val="40000"/>
          </a:schemeClr>
        </a:solidFill>
        <a:ln w="12700" cap="flat" cmpd="sng" algn="ctr">
          <a:solidFill>
            <a:schemeClr val="accent2"/>
          </a:solidFill>
          <a:prstDash val="solid"/>
          <a:miter lim="800000"/>
        </a:ln>
        <a:effectLst/>
      </dgm:spPr>
    </dgm:pt>
    <dgm:pt modelId="{DBDF4942-435E-4255-80AA-C389873CD48C}" type="pres">
      <dgm:prSet presAssocID="{E72C292B-1773-414A-8A1B-23E5215E73CB}" presName="text_3" presStyleLbl="node1" presStyleIdx="2" presStyleCnt="7">
        <dgm:presLayoutVars>
          <dgm:bulletEnabled val="1"/>
        </dgm:presLayoutVars>
      </dgm:prSet>
      <dgm:spPr/>
    </dgm:pt>
    <dgm:pt modelId="{E4228D89-6764-479E-803E-7272F296951F}" type="pres">
      <dgm:prSet presAssocID="{E72C292B-1773-414A-8A1B-23E5215E73CB}" presName="accent_3" presStyleCnt="0"/>
      <dgm:spPr/>
    </dgm:pt>
    <dgm:pt modelId="{CBA22877-9BD5-4562-9D2E-884C8607670D}" type="pres">
      <dgm:prSet presAssocID="{E72C292B-1773-414A-8A1B-23E5215E73CB}" presName="accentRepeatNode" presStyleLbl="solidFgAcc1" presStyleIdx="2" presStyleCnt="7"/>
      <dgm:spPr>
        <a:xfrm>
          <a:off x="631820" y="1377211"/>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gm:spPr>
    </dgm:pt>
    <dgm:pt modelId="{C3ADEE67-C5AB-4EF6-9A5B-1A1135CC2806}" type="pres">
      <dgm:prSet presAssocID="{CF5B1EF0-4584-4818-B956-812AB2841509}" presName="text_4" presStyleLbl="node1" presStyleIdx="3" presStyleCnt="7">
        <dgm:presLayoutVars>
          <dgm:bulletEnabled val="1"/>
        </dgm:presLayoutVars>
      </dgm:prSet>
      <dgm:spPr/>
    </dgm:pt>
    <dgm:pt modelId="{AF86B4F6-EE01-4806-9D3D-6E52D4D168D3}" type="pres">
      <dgm:prSet presAssocID="{CF5B1EF0-4584-4818-B956-812AB2841509}" presName="accent_4" presStyleCnt="0"/>
      <dgm:spPr/>
    </dgm:pt>
    <dgm:pt modelId="{8277AAD2-BD37-4C43-8C2C-8FDAD2E74275}" type="pres">
      <dgm:prSet presAssocID="{CF5B1EF0-4584-4818-B956-812AB2841509}" presName="accentRepeatNode" presStyleLbl="solidFgAcc1" presStyleIdx="3" presStyleCnt="7"/>
      <dgm:spPr>
        <a:xfrm>
          <a:off x="696461" y="1989504"/>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gm:spPr>
    </dgm:pt>
    <dgm:pt modelId="{9C9FB6DF-77CF-4505-A974-0C9D69910F59}" type="pres">
      <dgm:prSet presAssocID="{78079BBF-C271-49C2-A633-28E6EB10A0EF}" presName="text_5" presStyleLbl="node1" presStyleIdx="4" presStyleCnt="7">
        <dgm:presLayoutVars>
          <dgm:bulletEnabled val="1"/>
        </dgm:presLayoutVars>
      </dgm:prSet>
      <dgm:spPr/>
    </dgm:pt>
    <dgm:pt modelId="{FBEB7E08-099A-4BF2-B574-9E0F1EC8E218}" type="pres">
      <dgm:prSet presAssocID="{78079BBF-C271-49C2-A633-28E6EB10A0EF}" presName="accent_5" presStyleCnt="0"/>
      <dgm:spPr/>
    </dgm:pt>
    <dgm:pt modelId="{A3D7BAFD-CAF1-42FE-9598-E3DFF4BBDA99}" type="pres">
      <dgm:prSet presAssocID="{78079BBF-C271-49C2-A633-28E6EB10A0EF}" presName="accentRepeatNode" presStyleLbl="solidFgAcc1" presStyleIdx="4" presStyleCnt="7"/>
      <dgm:spPr>
        <a:xfrm>
          <a:off x="631820" y="2601798"/>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gm:spPr>
    </dgm:pt>
    <dgm:pt modelId="{3A090ECE-372F-48CD-BDD1-89F2E7F87303}" type="pres">
      <dgm:prSet presAssocID="{1375E01B-0E3F-41FC-9352-8563AF458144}" presName="text_6" presStyleLbl="node1" presStyleIdx="5" presStyleCnt="7">
        <dgm:presLayoutVars>
          <dgm:bulletEnabled val="1"/>
        </dgm:presLayoutVars>
      </dgm:prSet>
      <dgm:spPr/>
    </dgm:pt>
    <dgm:pt modelId="{C2B8CFA3-BC32-4DF7-9F57-1A20B10F9945}" type="pres">
      <dgm:prSet presAssocID="{1375E01B-0E3F-41FC-9352-8563AF458144}" presName="accent_6" presStyleCnt="0"/>
      <dgm:spPr/>
    </dgm:pt>
    <dgm:pt modelId="{E28888ED-7BAE-4ADE-A32B-24763D612B93}" type="pres">
      <dgm:prSet presAssocID="{1375E01B-0E3F-41FC-9352-8563AF458144}" presName="accentRepeatNode" presStyleLbl="solidFgAcc1" presStyleIdx="5" presStyleCnt="7"/>
      <dgm:spPr>
        <a:xfrm>
          <a:off x="429368" y="3213642"/>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gm:spPr>
    </dgm:pt>
    <dgm:pt modelId="{FB002080-EFF1-452B-977E-DF36781609AA}" type="pres">
      <dgm:prSet presAssocID="{18C6DCBB-0C5C-4A5D-A0E1-91618AE4072C}" presName="text_7" presStyleLbl="node1" presStyleIdx="6" presStyleCnt="7">
        <dgm:presLayoutVars>
          <dgm:bulletEnabled val="1"/>
        </dgm:presLayoutVars>
      </dgm:prSet>
      <dgm:spPr/>
    </dgm:pt>
    <dgm:pt modelId="{638677B0-DB69-4AF5-80EA-1D1EBDB9E5CA}" type="pres">
      <dgm:prSet presAssocID="{18C6DCBB-0C5C-4A5D-A0E1-91618AE4072C}" presName="accent_7" presStyleCnt="0"/>
      <dgm:spPr/>
    </dgm:pt>
    <dgm:pt modelId="{BCD489AA-EB2A-454A-9CB3-5C869520F253}" type="pres">
      <dgm:prSet presAssocID="{18C6DCBB-0C5C-4A5D-A0E1-91618AE4072C}" presName="accentRepeatNode" presStyleLbl="solidFgAcc1" presStyleIdx="6" presStyleCnt="7"/>
      <dgm:spPr>
        <a:xfrm>
          <a:off x="59927" y="3825936"/>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gm:spPr>
    </dgm:pt>
  </dgm:ptLst>
  <dgm:cxnLst>
    <dgm:cxn modelId="{91D4671D-1466-4C8B-B850-76DF32F7C062}" type="presOf" srcId="{41182FFF-B81E-46DB-A22C-AB0C49574707}" destId="{BB94C057-723C-49E6-8A3C-D30A289C2E27}" srcOrd="0" destOrd="0" presId="urn:microsoft.com/office/officeart/2008/layout/VerticalCurvedList"/>
    <dgm:cxn modelId="{BDF7A626-743D-43D9-ABD5-304944FE0A62}" type="presOf" srcId="{78079BBF-C271-49C2-A633-28E6EB10A0EF}" destId="{9C9FB6DF-77CF-4505-A974-0C9D69910F59}" srcOrd="0" destOrd="0" presId="urn:microsoft.com/office/officeart/2008/layout/VerticalCurvedList"/>
    <dgm:cxn modelId="{B68B625E-DA13-4591-A89D-EABFF3D6026C}" type="presOf" srcId="{AD1032E6-CBB8-48B9-9DFB-01A469BE401B}" destId="{3EC485A7-2B7A-4A39-8E21-85D316FA7A1C}" srcOrd="0" destOrd="0" presId="urn:microsoft.com/office/officeart/2008/layout/VerticalCurvedList"/>
    <dgm:cxn modelId="{AB335148-8E00-43EF-ADD6-32191FC53A5D}" srcId="{41182FFF-B81E-46DB-A22C-AB0C49574707}" destId="{1E3B88E8-CA11-402A-B6AC-4169C8B8CBFE}" srcOrd="1" destOrd="0" parTransId="{25CF42EB-6727-4B8E-8D3B-969853E83DD1}" sibTransId="{A751BA2B-1F42-4E5D-B590-B1990C2B8E71}"/>
    <dgm:cxn modelId="{CEF7A56B-8E4A-4E9E-AAA4-7DDCB014DDCE}" type="presOf" srcId="{1375E01B-0E3F-41FC-9352-8563AF458144}" destId="{3A090ECE-372F-48CD-BDD1-89F2E7F87303}" srcOrd="0" destOrd="0" presId="urn:microsoft.com/office/officeart/2008/layout/VerticalCurvedList"/>
    <dgm:cxn modelId="{A373334E-A887-4D25-9D07-9219FB883D53}" type="presOf" srcId="{9A073A25-A449-4BA6-95FA-758ACFB874FA}" destId="{6D3D39F1-B08A-4E05-A617-EA0D64255683}" srcOrd="0" destOrd="0" presId="urn:microsoft.com/office/officeart/2008/layout/VerticalCurvedList"/>
    <dgm:cxn modelId="{E64FB674-EC56-496E-9930-6E05B8AD0006}" type="presOf" srcId="{CF5B1EF0-4584-4818-B956-812AB2841509}" destId="{C3ADEE67-C5AB-4EF6-9A5B-1A1135CC2806}" srcOrd="0" destOrd="0" presId="urn:microsoft.com/office/officeart/2008/layout/VerticalCurvedList"/>
    <dgm:cxn modelId="{A0DCA155-9219-42DD-8E77-115CFBE4C33D}" srcId="{41182FFF-B81E-46DB-A22C-AB0C49574707}" destId="{18C6DCBB-0C5C-4A5D-A0E1-91618AE4072C}" srcOrd="6" destOrd="0" parTransId="{555FCF6A-FD1F-459E-BF53-4AED9A2F6405}" sibTransId="{06308051-2B4A-4D95-88C5-AAE2AE4EF476}"/>
    <dgm:cxn modelId="{341DB78B-5F6E-491F-9A2A-ED3D70F173CB}" srcId="{41182FFF-B81E-46DB-A22C-AB0C49574707}" destId="{9A073A25-A449-4BA6-95FA-758ACFB874FA}" srcOrd="0" destOrd="0" parTransId="{B7E51DAF-CAE7-4D5F-B2F0-34E4F916FC9F}" sibTransId="{AD1032E6-CBB8-48B9-9DFB-01A469BE401B}"/>
    <dgm:cxn modelId="{2D81558C-0C10-47A2-8245-EEB67AC47737}" type="presOf" srcId="{18C6DCBB-0C5C-4A5D-A0E1-91618AE4072C}" destId="{FB002080-EFF1-452B-977E-DF36781609AA}" srcOrd="0" destOrd="0" presId="urn:microsoft.com/office/officeart/2008/layout/VerticalCurvedList"/>
    <dgm:cxn modelId="{7E9ED297-0145-44C3-9750-338B15AA596E}" type="presOf" srcId="{E72C292B-1773-414A-8A1B-23E5215E73CB}" destId="{DBDF4942-435E-4255-80AA-C389873CD48C}" srcOrd="0" destOrd="0" presId="urn:microsoft.com/office/officeart/2008/layout/VerticalCurvedList"/>
    <dgm:cxn modelId="{CA3416B0-E169-44AA-B12D-60C901C7EA17}" srcId="{41182FFF-B81E-46DB-A22C-AB0C49574707}" destId="{E72C292B-1773-414A-8A1B-23E5215E73CB}" srcOrd="2" destOrd="0" parTransId="{95CFFC4A-5817-4E90-9CF6-CFF5A130541D}" sibTransId="{585D89B1-7588-4DB5-AA04-8798408031D8}"/>
    <dgm:cxn modelId="{BBA18DB9-2BA8-4735-8D40-15519243A5FA}" srcId="{41182FFF-B81E-46DB-A22C-AB0C49574707}" destId="{1375E01B-0E3F-41FC-9352-8563AF458144}" srcOrd="5" destOrd="0" parTransId="{B7209075-47C5-4A79-BB03-8391E5085B62}" sibTransId="{73AC26C6-EE89-439D-8E68-ACA1F3388DF8}"/>
    <dgm:cxn modelId="{0BB406C3-78D5-4C14-9ECD-DEF3E643509D}" type="presOf" srcId="{1E3B88E8-CA11-402A-B6AC-4169C8B8CBFE}" destId="{F8E18A05-5A7D-43E6-9F54-A4F738D61780}" srcOrd="0" destOrd="0" presId="urn:microsoft.com/office/officeart/2008/layout/VerticalCurvedList"/>
    <dgm:cxn modelId="{695E65C6-A3E2-4C2B-8279-DFBA56267CC8}" srcId="{41182FFF-B81E-46DB-A22C-AB0C49574707}" destId="{CF5B1EF0-4584-4818-B956-812AB2841509}" srcOrd="3" destOrd="0" parTransId="{AE59AFAD-DCDA-450A-BA6C-F39CAD86EABB}" sibTransId="{9648FE11-77F7-4893-BDD6-13A660569A74}"/>
    <dgm:cxn modelId="{9145E5CD-86DC-45AD-998B-9F9663C522BA}" srcId="{41182FFF-B81E-46DB-A22C-AB0C49574707}" destId="{78079BBF-C271-49C2-A633-28E6EB10A0EF}" srcOrd="4" destOrd="0" parTransId="{9966B841-05C8-4F37-B705-655C601032D9}" sibTransId="{5863DFD8-B42D-47D2-B449-9ED46939EF26}"/>
    <dgm:cxn modelId="{66B8A4E9-4DC3-4CE9-A6E5-7F4B55660C00}" type="presParOf" srcId="{BB94C057-723C-49E6-8A3C-D30A289C2E27}" destId="{AFB167DE-F9DF-43A6-8486-3AE5CCA97814}" srcOrd="0" destOrd="0" presId="urn:microsoft.com/office/officeart/2008/layout/VerticalCurvedList"/>
    <dgm:cxn modelId="{E3F386CA-3700-47AB-BCC0-1F5396CC1D22}" type="presParOf" srcId="{AFB167DE-F9DF-43A6-8486-3AE5CCA97814}" destId="{514873CD-D96C-485C-BFAB-C3F3C2D29A60}" srcOrd="0" destOrd="0" presId="urn:microsoft.com/office/officeart/2008/layout/VerticalCurvedList"/>
    <dgm:cxn modelId="{B79B8FA3-A528-4B28-B579-5A28AA64FF86}" type="presParOf" srcId="{514873CD-D96C-485C-BFAB-C3F3C2D29A60}" destId="{523D2683-3E44-4792-86D2-8D712D031E7F}" srcOrd="0" destOrd="0" presId="urn:microsoft.com/office/officeart/2008/layout/VerticalCurvedList"/>
    <dgm:cxn modelId="{218270A3-21B0-46C7-BFB6-15AD8F7DAD80}" type="presParOf" srcId="{514873CD-D96C-485C-BFAB-C3F3C2D29A60}" destId="{3EC485A7-2B7A-4A39-8E21-85D316FA7A1C}" srcOrd="1" destOrd="0" presId="urn:microsoft.com/office/officeart/2008/layout/VerticalCurvedList"/>
    <dgm:cxn modelId="{950E3FD3-F43E-4CA7-BFDA-7003E6699422}" type="presParOf" srcId="{514873CD-D96C-485C-BFAB-C3F3C2D29A60}" destId="{A20006F5-132C-4070-B7D5-2EF7CEAFA5B9}" srcOrd="2" destOrd="0" presId="urn:microsoft.com/office/officeart/2008/layout/VerticalCurvedList"/>
    <dgm:cxn modelId="{9FAE443F-33B6-494E-897F-FE34E8F0A842}" type="presParOf" srcId="{514873CD-D96C-485C-BFAB-C3F3C2D29A60}" destId="{E1F70580-618F-43B2-A10E-16F58F741A0E}" srcOrd="3" destOrd="0" presId="urn:microsoft.com/office/officeart/2008/layout/VerticalCurvedList"/>
    <dgm:cxn modelId="{2354BC98-9ED9-430D-AC95-73910FB69BC0}" type="presParOf" srcId="{AFB167DE-F9DF-43A6-8486-3AE5CCA97814}" destId="{6D3D39F1-B08A-4E05-A617-EA0D64255683}" srcOrd="1" destOrd="0" presId="urn:microsoft.com/office/officeart/2008/layout/VerticalCurvedList"/>
    <dgm:cxn modelId="{958C86E2-BFA8-4F77-8E5F-620DA0ED57E8}" type="presParOf" srcId="{AFB167DE-F9DF-43A6-8486-3AE5CCA97814}" destId="{D8B3172B-3B2F-4A04-8D7D-90E3624AA67B}" srcOrd="2" destOrd="0" presId="urn:microsoft.com/office/officeart/2008/layout/VerticalCurvedList"/>
    <dgm:cxn modelId="{609D488F-8097-44D9-9BBC-6CC02FAA339B}" type="presParOf" srcId="{D8B3172B-3B2F-4A04-8D7D-90E3624AA67B}" destId="{C7B7B358-8AA7-4CC7-B295-9D6F5232D5FB}" srcOrd="0" destOrd="0" presId="urn:microsoft.com/office/officeart/2008/layout/VerticalCurvedList"/>
    <dgm:cxn modelId="{973C1A91-EF80-4646-939F-2346295028E7}" type="presParOf" srcId="{AFB167DE-F9DF-43A6-8486-3AE5CCA97814}" destId="{F8E18A05-5A7D-43E6-9F54-A4F738D61780}" srcOrd="3" destOrd="0" presId="urn:microsoft.com/office/officeart/2008/layout/VerticalCurvedList"/>
    <dgm:cxn modelId="{499D2B33-7AFF-40D6-99CE-846361778F82}" type="presParOf" srcId="{AFB167DE-F9DF-43A6-8486-3AE5CCA97814}" destId="{B08989EF-FA8D-4E16-9CA4-B6C6F12A811A}" srcOrd="4" destOrd="0" presId="urn:microsoft.com/office/officeart/2008/layout/VerticalCurvedList"/>
    <dgm:cxn modelId="{05342651-0078-4CF4-831E-18EAC41CC04C}" type="presParOf" srcId="{B08989EF-FA8D-4E16-9CA4-B6C6F12A811A}" destId="{AEBFDB14-A08A-4D4D-B277-39E4FB0D57E6}" srcOrd="0" destOrd="0" presId="urn:microsoft.com/office/officeart/2008/layout/VerticalCurvedList"/>
    <dgm:cxn modelId="{902AAAD2-8536-4BF6-8CEB-C629992143D5}" type="presParOf" srcId="{AFB167DE-F9DF-43A6-8486-3AE5CCA97814}" destId="{DBDF4942-435E-4255-80AA-C389873CD48C}" srcOrd="5" destOrd="0" presId="urn:microsoft.com/office/officeart/2008/layout/VerticalCurvedList"/>
    <dgm:cxn modelId="{9780EFFC-D89F-424D-A83D-45F0402D284A}" type="presParOf" srcId="{AFB167DE-F9DF-43A6-8486-3AE5CCA97814}" destId="{E4228D89-6764-479E-803E-7272F296951F}" srcOrd="6" destOrd="0" presId="urn:microsoft.com/office/officeart/2008/layout/VerticalCurvedList"/>
    <dgm:cxn modelId="{A5F5313C-2DEF-4219-87DC-31877A17C623}" type="presParOf" srcId="{E4228D89-6764-479E-803E-7272F296951F}" destId="{CBA22877-9BD5-4562-9D2E-884C8607670D}" srcOrd="0" destOrd="0" presId="urn:microsoft.com/office/officeart/2008/layout/VerticalCurvedList"/>
    <dgm:cxn modelId="{77E30B40-2429-4B90-A945-274C2DCA5409}" type="presParOf" srcId="{AFB167DE-F9DF-43A6-8486-3AE5CCA97814}" destId="{C3ADEE67-C5AB-4EF6-9A5B-1A1135CC2806}" srcOrd="7" destOrd="0" presId="urn:microsoft.com/office/officeart/2008/layout/VerticalCurvedList"/>
    <dgm:cxn modelId="{461B7F07-958C-45AF-9491-661188D85765}" type="presParOf" srcId="{AFB167DE-F9DF-43A6-8486-3AE5CCA97814}" destId="{AF86B4F6-EE01-4806-9D3D-6E52D4D168D3}" srcOrd="8" destOrd="0" presId="urn:microsoft.com/office/officeart/2008/layout/VerticalCurvedList"/>
    <dgm:cxn modelId="{9863D3FB-3852-443F-9C0D-A81A853116BF}" type="presParOf" srcId="{AF86B4F6-EE01-4806-9D3D-6E52D4D168D3}" destId="{8277AAD2-BD37-4C43-8C2C-8FDAD2E74275}" srcOrd="0" destOrd="0" presId="urn:microsoft.com/office/officeart/2008/layout/VerticalCurvedList"/>
    <dgm:cxn modelId="{A9E6A18D-BE73-4ED9-97CC-3FB2E3337618}" type="presParOf" srcId="{AFB167DE-F9DF-43A6-8486-3AE5CCA97814}" destId="{9C9FB6DF-77CF-4505-A974-0C9D69910F59}" srcOrd="9" destOrd="0" presId="urn:microsoft.com/office/officeart/2008/layout/VerticalCurvedList"/>
    <dgm:cxn modelId="{AD15B924-38D8-414F-A926-988DC59B5C4D}" type="presParOf" srcId="{AFB167DE-F9DF-43A6-8486-3AE5CCA97814}" destId="{FBEB7E08-099A-4BF2-B574-9E0F1EC8E218}" srcOrd="10" destOrd="0" presId="urn:microsoft.com/office/officeart/2008/layout/VerticalCurvedList"/>
    <dgm:cxn modelId="{92FFF716-46B7-461F-88F4-49D81716EA0C}" type="presParOf" srcId="{FBEB7E08-099A-4BF2-B574-9E0F1EC8E218}" destId="{A3D7BAFD-CAF1-42FE-9598-E3DFF4BBDA99}" srcOrd="0" destOrd="0" presId="urn:microsoft.com/office/officeart/2008/layout/VerticalCurvedList"/>
    <dgm:cxn modelId="{9983134C-915A-4452-B1F3-8DD5FF164ECC}" type="presParOf" srcId="{AFB167DE-F9DF-43A6-8486-3AE5CCA97814}" destId="{3A090ECE-372F-48CD-BDD1-89F2E7F87303}" srcOrd="11" destOrd="0" presId="urn:microsoft.com/office/officeart/2008/layout/VerticalCurvedList"/>
    <dgm:cxn modelId="{34CFD10E-814B-4B92-9999-37DBC13E2A71}" type="presParOf" srcId="{AFB167DE-F9DF-43A6-8486-3AE5CCA97814}" destId="{C2B8CFA3-BC32-4DF7-9F57-1A20B10F9945}" srcOrd="12" destOrd="0" presId="urn:microsoft.com/office/officeart/2008/layout/VerticalCurvedList"/>
    <dgm:cxn modelId="{AC2D2A3E-A4BC-4194-87E6-F75B009DFB72}" type="presParOf" srcId="{C2B8CFA3-BC32-4DF7-9F57-1A20B10F9945}" destId="{E28888ED-7BAE-4ADE-A32B-24763D612B93}" srcOrd="0" destOrd="0" presId="urn:microsoft.com/office/officeart/2008/layout/VerticalCurvedList"/>
    <dgm:cxn modelId="{45C0D099-340E-4391-8A14-966507D10BCF}" type="presParOf" srcId="{AFB167DE-F9DF-43A6-8486-3AE5CCA97814}" destId="{FB002080-EFF1-452B-977E-DF36781609AA}" srcOrd="13" destOrd="0" presId="urn:microsoft.com/office/officeart/2008/layout/VerticalCurvedList"/>
    <dgm:cxn modelId="{ADD4E5B4-6839-4CF6-8FE7-3C00EA68CFC9}" type="presParOf" srcId="{AFB167DE-F9DF-43A6-8486-3AE5CCA97814}" destId="{638677B0-DB69-4AF5-80EA-1D1EBDB9E5CA}" srcOrd="14" destOrd="0" presId="urn:microsoft.com/office/officeart/2008/layout/VerticalCurvedList"/>
    <dgm:cxn modelId="{EA62ED3A-DBBA-41EB-9D05-A04F827853E1}" type="presParOf" srcId="{638677B0-DB69-4AF5-80EA-1D1EBDB9E5CA}" destId="{BCD489AA-EB2A-454A-9CB3-5C869520F253}" srcOrd="0" destOrd="0" presId="urn:microsoft.com/office/officeart/2008/layout/VerticalCurvedList"/>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485A7-2B7A-4A39-8E21-85D316FA7A1C}">
      <dsp:nvSpPr>
        <dsp:cNvPr id="0" name=""/>
        <dsp:cNvSpPr/>
      </dsp:nvSpPr>
      <dsp:spPr>
        <a:xfrm>
          <a:off x="-5073151" y="-777500"/>
          <a:ext cx="6043955" cy="6043955"/>
        </a:xfrm>
        <a:prstGeom prst="blockArc">
          <a:avLst>
            <a:gd name="adj1" fmla="val 18900000"/>
            <a:gd name="adj2" fmla="val 2700000"/>
            <a:gd name="adj3" fmla="val 357"/>
          </a:avLst>
        </a:pr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6D3D39F1-B08A-4E05-A617-EA0D64255683}">
      <dsp:nvSpPr>
        <dsp:cNvPr id="0" name=""/>
        <dsp:cNvSpPr/>
      </dsp:nvSpPr>
      <dsp:spPr>
        <a:xfrm>
          <a:off x="314900" y="204067"/>
          <a:ext cx="8171811"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INFRASTRUCTURE</a:t>
          </a:r>
        </a:p>
      </dsp:txBody>
      <dsp:txXfrm>
        <a:off x="314900" y="204067"/>
        <a:ext cx="8171811" cy="407956"/>
      </dsp:txXfrm>
    </dsp:sp>
    <dsp:sp modelId="{C7B7B358-8AA7-4CC7-B295-9D6F5232D5FB}">
      <dsp:nvSpPr>
        <dsp:cNvPr id="0" name=""/>
        <dsp:cNvSpPr/>
      </dsp:nvSpPr>
      <dsp:spPr>
        <a:xfrm>
          <a:off x="59927" y="153073"/>
          <a:ext cx="509945" cy="509945"/>
        </a:xfrm>
        <a:prstGeom prst="ellipse">
          <a:avLst/>
        </a:prstGeom>
        <a:solidFill>
          <a:schemeClr val="tx2">
            <a:lumMod val="60000"/>
            <a:lumOff val="4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F8E18A05-5A7D-43E6-9F54-A4F738D61780}">
      <dsp:nvSpPr>
        <dsp:cNvPr id="0" name=""/>
        <dsp:cNvSpPr/>
      </dsp:nvSpPr>
      <dsp:spPr>
        <a:xfrm>
          <a:off x="684341" y="816361"/>
          <a:ext cx="7802370"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ADEQUACY</a:t>
          </a:r>
        </a:p>
      </dsp:txBody>
      <dsp:txXfrm>
        <a:off x="684341" y="816361"/>
        <a:ext cx="7802370" cy="407956"/>
      </dsp:txXfrm>
    </dsp:sp>
    <dsp:sp modelId="{AEBFDB14-A08A-4D4D-B277-39E4FB0D57E6}">
      <dsp:nvSpPr>
        <dsp:cNvPr id="0" name=""/>
        <dsp:cNvSpPr/>
      </dsp:nvSpPr>
      <dsp:spPr>
        <a:xfrm>
          <a:off x="429368" y="765366"/>
          <a:ext cx="509945" cy="509945"/>
        </a:xfrm>
        <a:prstGeom prst="ellipse">
          <a:avLst/>
        </a:prstGeom>
        <a:solidFill>
          <a:schemeClr val="tx2">
            <a:lumMod val="60000"/>
            <a:lumOff val="4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DBDF4942-435E-4255-80AA-C389873CD48C}">
      <dsp:nvSpPr>
        <dsp:cNvPr id="0" name=""/>
        <dsp:cNvSpPr/>
      </dsp:nvSpPr>
      <dsp:spPr>
        <a:xfrm>
          <a:off x="886793" y="1428205"/>
          <a:ext cx="7599918"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ANCILLARY SERVICES AND BALANCING</a:t>
          </a:r>
        </a:p>
      </dsp:txBody>
      <dsp:txXfrm>
        <a:off x="886793" y="1428205"/>
        <a:ext cx="7599918" cy="407956"/>
      </dsp:txXfrm>
    </dsp:sp>
    <dsp:sp modelId="{CBA22877-9BD5-4562-9D2E-884C8607670D}">
      <dsp:nvSpPr>
        <dsp:cNvPr id="0" name=""/>
        <dsp:cNvSpPr/>
      </dsp:nvSpPr>
      <dsp:spPr>
        <a:xfrm>
          <a:off x="631820" y="1377211"/>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sp:spPr>
      <dsp:style>
        <a:lnRef idx="2">
          <a:scrgbClr r="0" g="0" b="0"/>
        </a:lnRef>
        <a:fillRef idx="1">
          <a:scrgbClr r="0" g="0" b="0"/>
        </a:fillRef>
        <a:effectRef idx="0">
          <a:scrgbClr r="0" g="0" b="0"/>
        </a:effectRef>
        <a:fontRef idx="minor"/>
      </dsp:style>
    </dsp:sp>
    <dsp:sp modelId="{C3ADEE67-C5AB-4EF6-9A5B-1A1135CC2806}">
      <dsp:nvSpPr>
        <dsp:cNvPr id="0" name=""/>
        <dsp:cNvSpPr/>
      </dsp:nvSpPr>
      <dsp:spPr>
        <a:xfrm>
          <a:off x="951434" y="2040499"/>
          <a:ext cx="7535277"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DYNAMIC STABILITY</a:t>
          </a:r>
        </a:p>
      </dsp:txBody>
      <dsp:txXfrm>
        <a:off x="951434" y="2040499"/>
        <a:ext cx="7535277" cy="407956"/>
      </dsp:txXfrm>
    </dsp:sp>
    <dsp:sp modelId="{8277AAD2-BD37-4C43-8C2C-8FDAD2E74275}">
      <dsp:nvSpPr>
        <dsp:cNvPr id="0" name=""/>
        <dsp:cNvSpPr/>
      </dsp:nvSpPr>
      <dsp:spPr>
        <a:xfrm>
          <a:off x="696461" y="1989504"/>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sp:spPr>
      <dsp:style>
        <a:lnRef idx="2">
          <a:scrgbClr r="0" g="0" b="0"/>
        </a:lnRef>
        <a:fillRef idx="1">
          <a:scrgbClr r="0" g="0" b="0"/>
        </a:fillRef>
        <a:effectRef idx="0">
          <a:scrgbClr r="0" g="0" b="0"/>
        </a:effectRef>
        <a:fontRef idx="minor"/>
      </dsp:style>
    </dsp:sp>
    <dsp:sp modelId="{9C9FB6DF-77CF-4505-A974-0C9D69910F59}">
      <dsp:nvSpPr>
        <dsp:cNvPr id="0" name=""/>
        <dsp:cNvSpPr/>
      </dsp:nvSpPr>
      <dsp:spPr>
        <a:xfrm>
          <a:off x="886793" y="2652792"/>
          <a:ext cx="7599918"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REQUIREMENTS AND GRID CODES</a:t>
          </a:r>
        </a:p>
      </dsp:txBody>
      <dsp:txXfrm>
        <a:off x="886793" y="2652792"/>
        <a:ext cx="7599918" cy="407956"/>
      </dsp:txXfrm>
    </dsp:sp>
    <dsp:sp modelId="{A3D7BAFD-CAF1-42FE-9598-E3DFF4BBDA99}">
      <dsp:nvSpPr>
        <dsp:cNvPr id="0" name=""/>
        <dsp:cNvSpPr/>
      </dsp:nvSpPr>
      <dsp:spPr>
        <a:xfrm>
          <a:off x="631820" y="2601798"/>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sp:spPr>
      <dsp:style>
        <a:lnRef idx="2">
          <a:scrgbClr r="0" g="0" b="0"/>
        </a:lnRef>
        <a:fillRef idx="1">
          <a:scrgbClr r="0" g="0" b="0"/>
        </a:fillRef>
        <a:effectRef idx="0">
          <a:scrgbClr r="0" g="0" b="0"/>
        </a:effectRef>
        <a:fontRef idx="minor"/>
      </dsp:style>
    </dsp:sp>
    <dsp:sp modelId="{3A090ECE-372F-48CD-BDD1-89F2E7F87303}">
      <dsp:nvSpPr>
        <dsp:cNvPr id="0" name=""/>
        <dsp:cNvSpPr/>
      </dsp:nvSpPr>
      <dsp:spPr>
        <a:xfrm>
          <a:off x="684341" y="3264637"/>
          <a:ext cx="7802370"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CYBER SECURITY AND PREPAREDNESS</a:t>
          </a:r>
        </a:p>
      </dsp:txBody>
      <dsp:txXfrm>
        <a:off x="684341" y="3264637"/>
        <a:ext cx="7802370" cy="407956"/>
      </dsp:txXfrm>
    </dsp:sp>
    <dsp:sp modelId="{E28888ED-7BAE-4ADE-A32B-24763D612B93}">
      <dsp:nvSpPr>
        <dsp:cNvPr id="0" name=""/>
        <dsp:cNvSpPr/>
      </dsp:nvSpPr>
      <dsp:spPr>
        <a:xfrm>
          <a:off x="429368" y="3213642"/>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sp:spPr>
      <dsp:style>
        <a:lnRef idx="2">
          <a:scrgbClr r="0" g="0" b="0"/>
        </a:lnRef>
        <a:fillRef idx="1">
          <a:scrgbClr r="0" g="0" b="0"/>
        </a:fillRef>
        <a:effectRef idx="0">
          <a:scrgbClr r="0" g="0" b="0"/>
        </a:effectRef>
        <a:fontRef idx="minor"/>
      </dsp:style>
    </dsp:sp>
    <dsp:sp modelId="{FB002080-EFF1-452B-977E-DF36781609AA}">
      <dsp:nvSpPr>
        <dsp:cNvPr id="0" name=""/>
        <dsp:cNvSpPr/>
      </dsp:nvSpPr>
      <dsp:spPr>
        <a:xfrm>
          <a:off x="314900" y="3876930"/>
          <a:ext cx="8171811" cy="407956"/>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15" tIns="50800" rIns="50800" bIns="50800" numCol="1" spcCol="1270" anchor="ctr" anchorCtr="0">
          <a:noAutofit/>
        </a:bodyPr>
        <a:lstStyle/>
        <a:p>
          <a:pPr marL="0" lvl="0" indent="0" algn="l" defTabSz="889000">
            <a:lnSpc>
              <a:spcPct val="90000"/>
            </a:lnSpc>
            <a:spcBef>
              <a:spcPct val="0"/>
            </a:spcBef>
            <a:spcAft>
              <a:spcPct val="35000"/>
            </a:spcAft>
            <a:buNone/>
          </a:pPr>
          <a:r>
            <a:rPr lang="da-DK" sz="2000" b="1" kern="1200" dirty="0">
              <a:solidFill>
                <a:schemeClr val="bg1"/>
              </a:solidFill>
              <a:effectLst>
                <a:outerShdw blurRad="38100" dist="38100" dir="2700000" algn="tl">
                  <a:srgbClr val="000000">
                    <a:alpha val="43137"/>
                  </a:srgbClr>
                </a:outerShdw>
              </a:effectLst>
            </a:rPr>
            <a:t>PEOPLE AND PROCESSES</a:t>
          </a:r>
        </a:p>
      </dsp:txBody>
      <dsp:txXfrm>
        <a:off x="314900" y="3876930"/>
        <a:ext cx="8171811" cy="407956"/>
      </dsp:txXfrm>
    </dsp:sp>
    <dsp:sp modelId="{BCD489AA-EB2A-454A-9CB3-5C869520F253}">
      <dsp:nvSpPr>
        <dsp:cNvPr id="0" name=""/>
        <dsp:cNvSpPr/>
      </dsp:nvSpPr>
      <dsp:spPr>
        <a:xfrm>
          <a:off x="59927" y="3825936"/>
          <a:ext cx="509945" cy="509945"/>
        </a:xfrm>
        <a:prstGeom prst="ellipse">
          <a:avLst/>
        </a:prstGeom>
        <a:solidFill>
          <a:srgbClr val="A0C1C2">
            <a:lumMod val="60000"/>
            <a:lumOff val="40000"/>
          </a:srgbClr>
        </a:solidFill>
        <a:ln w="12700" cap="flat" cmpd="sng" algn="ctr">
          <a:solidFill>
            <a:srgbClr val="0A515D"/>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3/10/2025</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6E511-D742-4EFE-90B5-C9FC42762E0F}" type="datetimeFigureOut">
              <a:rPr lang="en-GB" smtClean="0"/>
              <a:t>13/10/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CFAD1-D197-4A88-B173-A6412E995EE5}" type="slidenum">
              <a:rPr lang="en-GB" smtClean="0"/>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E2BA4-C95E-5A2B-1DC3-DAE1B16596A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870389A-FA34-4245-BC09-F664B8660E68}"/>
              </a:ext>
            </a:extLst>
          </p:cNvPr>
          <p:cNvSpPr>
            <a:spLocks noGrp="1" noRot="1" noChangeAspect="1"/>
          </p:cNvSpPr>
          <p:nvPr>
            <p:ph type="sldImg"/>
          </p:nvPr>
        </p:nvSpPr>
        <p:spPr>
          <a:xfrm>
            <a:off x="407988" y="933450"/>
            <a:ext cx="5919787" cy="3330575"/>
          </a:xfrm>
        </p:spPr>
      </p:sp>
      <p:sp>
        <p:nvSpPr>
          <p:cNvPr id="3" name="Pladsholder til noter 2">
            <a:extLst>
              <a:ext uri="{FF2B5EF4-FFF2-40B4-BE49-F238E27FC236}">
                <a16:creationId xmlns:a16="http://schemas.microsoft.com/office/drawing/2014/main" id="{266AB6D7-3149-304B-FC4D-C0CE953DF25F}"/>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EABF1D69-FB31-F2A6-47A3-396D16CF52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A70CC5-FF64-DF4B-AAAC-DC9C57434F85}" type="slidenum">
              <a:rPr kumimoji="0" lang="da-DK" sz="1300" b="0" i="0" u="none" strike="noStrike" kern="1200" cap="none" spc="0" normalizeH="0" baseline="0" noProof="0" smtClean="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1300" b="0" i="0" u="none" strike="noStrike" kern="1200" cap="none" spc="0" normalizeH="0" baseline="0" noProof="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22908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865188"/>
            <a:ext cx="5486400" cy="3086100"/>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rial"/>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p:txBody>
      </p:sp>
    </p:spTree>
    <p:extLst>
      <p:ext uri="{BB962C8B-B14F-4D97-AF65-F5344CB8AC3E}">
        <p14:creationId xmlns:p14="http://schemas.microsoft.com/office/powerpoint/2010/main" val="2240397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Arial"/>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p:txBody>
      </p:sp>
    </p:spTree>
    <p:extLst>
      <p:ext uri="{BB962C8B-B14F-4D97-AF65-F5344CB8AC3E}">
        <p14:creationId xmlns:p14="http://schemas.microsoft.com/office/powerpoint/2010/main" val="3868266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10297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865188"/>
            <a:ext cx="5486400" cy="3086100"/>
          </a:xfrm>
        </p:spPr>
      </p:sp>
      <p:sp>
        <p:nvSpPr>
          <p:cNvPr id="3" name="Pladsholder til noter 2"/>
          <p:cNvSpPr>
            <a:spLocks noGrp="1"/>
          </p:cNvSpPr>
          <p:nvPr>
            <p:ph type="body" idx="1"/>
          </p:nvPr>
        </p:nvSpPr>
        <p:spPr/>
        <p:txBody>
          <a:bodyPr/>
          <a:lstStyle/>
          <a:p>
            <a:pPr algn="l" rtl="0"/>
            <a:r>
              <a:rPr lang="en-US" b="0" i="0" dirty="0">
                <a:solidFill>
                  <a:srgbClr val="303743"/>
                </a:solidFill>
                <a:effectLst/>
                <a:highlight>
                  <a:srgbClr val="F1F5FD"/>
                </a:highlight>
                <a:latin typeface="Roboto" panose="02000000000000000000" pitchFamily="2" charset="0"/>
              </a:rPr>
              <a:t>Danish electricity consumption will explode – even before 2030 it is expected to double. And the expansion of solar cells and wind turbines will grow even faster – production will almost triple by 2030. </a:t>
            </a:r>
          </a:p>
          <a:p>
            <a:pPr algn="l" rtl="0"/>
            <a:r>
              <a:rPr lang="en-US" b="0" i="0" dirty="0">
                <a:solidFill>
                  <a:srgbClr val="303743"/>
                </a:solidFill>
                <a:effectLst/>
                <a:highlight>
                  <a:srgbClr val="F1F5FD"/>
                </a:highlight>
                <a:latin typeface="Roboto" panose="02000000000000000000" pitchFamily="2" charset="0"/>
              </a:rPr>
              <a:t>The electricity generation of the future will typically be generated at sea or in parts of Denmark where there is neither an electricity grid to transmit the electricity away, nor a consumption that can absorb the new production.</a:t>
            </a:r>
          </a:p>
          <a:p>
            <a:pPr algn="l" rtl="0"/>
            <a:r>
              <a:rPr lang="en-US" b="0" i="0" dirty="0">
                <a:solidFill>
                  <a:srgbClr val="303743"/>
                </a:solidFill>
                <a:effectLst/>
                <a:highlight>
                  <a:srgbClr val="F1F5FD"/>
                </a:highlight>
                <a:latin typeface="Roboto" panose="02000000000000000000" pitchFamily="2" charset="0"/>
              </a:rPr>
              <a:t> In order to succeed in this extreme trend, we need to expand the electricity grid in time. Otherwise, cables and power lines risk becoming showstoppers for the green transition.</a:t>
            </a:r>
            <a:br>
              <a:rPr lang="en-US" b="0" i="0" dirty="0">
                <a:solidFill>
                  <a:srgbClr val="303743"/>
                </a:solidFill>
                <a:effectLst/>
                <a:highlight>
                  <a:srgbClr val="F1F5FD"/>
                </a:highlight>
                <a:latin typeface="Roboto" panose="02000000000000000000" pitchFamily="2" charset="0"/>
              </a:rPr>
            </a:br>
            <a:br>
              <a:rPr lang="en-US" b="0" i="0" dirty="0">
                <a:solidFill>
                  <a:srgbClr val="303743"/>
                </a:solidFill>
                <a:effectLst/>
                <a:highlight>
                  <a:srgbClr val="F1F5FD"/>
                </a:highlight>
                <a:latin typeface="Roboto" panose="02000000000000000000" pitchFamily="2" charset="0"/>
              </a:rPr>
            </a:br>
            <a:r>
              <a:rPr lang="en-US" b="0" i="1" dirty="0">
                <a:solidFill>
                  <a:srgbClr val="303743"/>
                </a:solidFill>
                <a:effectLst/>
                <a:highlight>
                  <a:srgbClr val="F1F5FD"/>
                </a:highlight>
                <a:latin typeface="Roboto" panose="02000000000000000000" pitchFamily="2" charset="0"/>
              </a:rPr>
              <a:t>Source: Danish Energy Agency's Analysis Assumptions for Energinet 2023. The graphs will be updated when we receive new updated data (AF25) from the Danish Energy Agency</a:t>
            </a:r>
          </a:p>
          <a:p>
            <a:br>
              <a:rPr lang="en-US" b="0" i="0" dirty="0">
                <a:solidFill>
                  <a:srgbClr val="303743"/>
                </a:solidFill>
                <a:effectLst/>
                <a:highlight>
                  <a:srgbClr val="F1F5FD"/>
                </a:highlight>
                <a:latin typeface="Roboto" panose="02000000000000000000" pitchFamily="2" charset="0"/>
              </a:rPr>
            </a:b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900" b="0" i="0" u="none" strike="noStrike" kern="1200" cap="none" spc="0" normalizeH="0" baseline="0" noProof="0" smtClean="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823640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1.emf"/><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3" name="Supergrafi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da-DK" dirty="0"/>
              <a:t>Indsæt overskrift</a:t>
            </a:r>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dirty="0"/>
              <a:t>Indsæt underoverskrift</a:t>
            </a:r>
          </a:p>
        </p:txBody>
      </p:sp>
      <p:sp>
        <p:nvSpPr>
          <p:cNvPr id="4" name="Date_DateCustomA"/>
          <p:cNvSpPr>
            <a:spLocks noGrp="1"/>
          </p:cNvSpPr>
          <p:nvPr>
            <p:ph type="dt" sz="half" idx="10"/>
          </p:nvPr>
        </p:nvSpPr>
        <p:spPr/>
        <p:txBody>
          <a:bodyPr/>
          <a:lstStyle/>
          <a:p>
            <a:endParaRPr lang="da-DK" dirty="0"/>
          </a:p>
        </p:txBody>
      </p:sp>
      <p:sp>
        <p:nvSpPr>
          <p:cNvPr id="5" name="FLD_PresentationTitle"/>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24C8C45C-947F-4981-8B3F-4F32E973C901}" type="slidenum">
              <a:rPr lang="da-DK" smtClean="0"/>
              <a:t>‹nr.›</a:t>
            </a:fld>
            <a:endParaRPr lang="da-DK" dirty="0"/>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dirty="0"/>
              <a:t>Indsæt navn og efternavn</a:t>
            </a:r>
          </a:p>
        </p:txBody>
      </p:sp>
    </p:spTree>
    <p:extLst>
      <p:ext uri="{BB962C8B-B14F-4D97-AF65-F5344CB8AC3E}">
        <p14:creationId xmlns:p14="http://schemas.microsoft.com/office/powerpoint/2010/main" val="34224251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da-DK" dirty="0"/>
              <a:t>Indsæt fakta</a:t>
            </a:r>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Klik for at indsætte tekst</a:t>
            </a:r>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fakta</a:t>
            </a:r>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Klik for at indsætte tekst</a:t>
            </a:r>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Klik for at indsætte tekst</a:t>
            </a:r>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endParaRPr lang="da-DK" dirty="0"/>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endParaRPr lang="da-DK" dirty="0"/>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fakta</a:t>
            </a:r>
          </a:p>
        </p:txBody>
      </p:sp>
    </p:spTree>
    <p:extLst>
      <p:ext uri="{BB962C8B-B14F-4D97-AF65-F5344CB8AC3E}">
        <p14:creationId xmlns:p14="http://schemas.microsoft.com/office/powerpoint/2010/main" val="241134756"/>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da-DK" dirty="0"/>
              <a:t>Indsæt overskrift</a:t>
            </a:r>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p:nvPr>
        </p:nvSpPr>
        <p:spPr>
          <a:xfrm>
            <a:off x="982662" y="2227943"/>
            <a:ext cx="3248251" cy="4126359"/>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p:nvPr>
        </p:nvSpPr>
        <p:spPr>
          <a:xfrm>
            <a:off x="4465769" y="2227943"/>
            <a:ext cx="3248251" cy="4126359"/>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da-DK"/>
              <a:t>Klik for at redigere teksttypografierne i masteren</a:t>
            </a:r>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endParaRPr lang="en-GB" dirty="0"/>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endParaRPr lang="en-GB" dirty="0"/>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GB" smtClean="0"/>
              <a:pPr/>
              <a:t>‹nr.›</a:t>
            </a:fld>
            <a:endParaRPr lang="en-GB" dirty="0"/>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Tree>
    <p:extLst>
      <p:ext uri="{BB962C8B-B14F-4D97-AF65-F5344CB8AC3E}">
        <p14:creationId xmlns:p14="http://schemas.microsoft.com/office/powerpoint/2010/main" val="26362563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overskrift</a:t>
            </a:r>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overskrift</a:t>
            </a:r>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overskrift</a:t>
            </a:r>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overskrift</a:t>
            </a:r>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Tree>
    <p:extLst>
      <p:ext uri="{BB962C8B-B14F-4D97-AF65-F5344CB8AC3E}">
        <p14:creationId xmlns:p14="http://schemas.microsoft.com/office/powerpoint/2010/main" val="539091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kon </a:t>
            </a:r>
            <a:br>
              <a:rPr lang="da-DK" dirty="0"/>
            </a:br>
            <a:r>
              <a:rPr lang="da-DK" dirty="0"/>
              <a:t>tekst</a:t>
            </a:r>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da-DK" dirty="0"/>
              <a:t>Indsæt ikon</a:t>
            </a:r>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da-DK" dirty="0"/>
              <a:t>Indsæt ikon</a:t>
            </a:r>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da-DK" dirty="0"/>
              <a:t>Indsæt ikon</a:t>
            </a:r>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da-DK" dirty="0"/>
              <a:t>Indsæt ikon</a:t>
            </a:r>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da-DK" dirty="0"/>
              <a:t>Indsæt ikon</a:t>
            </a:r>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da-DK" dirty="0"/>
              <a:t>Indsæt ikon</a:t>
            </a:r>
          </a:p>
        </p:txBody>
      </p:sp>
    </p:spTree>
    <p:extLst>
      <p:ext uri="{BB962C8B-B14F-4D97-AF65-F5344CB8AC3E}">
        <p14:creationId xmlns:p14="http://schemas.microsoft.com/office/powerpoint/2010/main" val="14632329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dirty="0"/>
              <a:t>Indsæt overskrift</a:t>
            </a:r>
          </a:p>
        </p:txBody>
      </p:sp>
      <p:sp>
        <p:nvSpPr>
          <p:cNvPr id="3" name="Pladsholder til dato 2"/>
          <p:cNvSpPr>
            <a:spLocks noGrp="1"/>
          </p:cNvSpPr>
          <p:nvPr>
            <p:ph type="dt" sz="half" idx="10"/>
          </p:nvPr>
        </p:nvSpPr>
        <p:spPr/>
        <p:txBody>
          <a:bodyPr/>
          <a:lstStyle/>
          <a:p>
            <a:endParaRPr lang="en-GB" dirty="0"/>
          </a:p>
        </p:txBody>
      </p:sp>
      <p:sp>
        <p:nvSpPr>
          <p:cNvPr id="4" name="Pladsholder til sidefod 3"/>
          <p:cNvSpPr>
            <a:spLocks noGrp="1"/>
          </p:cNvSpPr>
          <p:nvPr>
            <p:ph type="ftr" sz="quarter" idx="11"/>
          </p:nvPr>
        </p:nvSpPr>
        <p:spPr/>
        <p:txBody>
          <a:bodyPr/>
          <a:lstStyle/>
          <a:p>
            <a:endParaRPr lang="en-GB" dirty="0"/>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dirty="0"/>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2916302"/>
            <a:ext cx="2398100" cy="3438000"/>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2916302"/>
            <a:ext cx="2398100" cy="3438000"/>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2916302"/>
            <a:ext cx="2398100" cy="3438000"/>
          </a:xfrm>
          <a:solidFill>
            <a:schemeClr val="bg2"/>
          </a:solidFill>
        </p:spPr>
        <p:txBody>
          <a:bodyPr/>
          <a:lstStyle>
            <a:lvl1pPr>
              <a:defRPr>
                <a:solidFill>
                  <a:schemeClr val="bg2"/>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2916302"/>
            <a:ext cx="2398100" cy="3438000"/>
          </a:xfrm>
          <a:solidFill>
            <a:schemeClr val="accent5"/>
          </a:solidFill>
        </p:spPr>
        <p:txBody>
          <a:bodyPr/>
          <a:lstStyle>
            <a:lvl1pPr>
              <a:defRPr>
                <a:solidFill>
                  <a:schemeClr val="accent5"/>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Tree>
    <p:extLst>
      <p:ext uri="{BB962C8B-B14F-4D97-AF65-F5344CB8AC3E}">
        <p14:creationId xmlns:p14="http://schemas.microsoft.com/office/powerpoint/2010/main" val="2872995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dirty="0"/>
              <a:t>Indsæt overskrift</a:t>
            </a:r>
          </a:p>
        </p:txBody>
      </p:sp>
      <p:sp>
        <p:nvSpPr>
          <p:cNvPr id="3" name="Pladsholder til dato 2"/>
          <p:cNvSpPr>
            <a:spLocks noGrp="1"/>
          </p:cNvSpPr>
          <p:nvPr>
            <p:ph type="dt" sz="half" idx="10"/>
          </p:nvPr>
        </p:nvSpPr>
        <p:spPr/>
        <p:txBody>
          <a:bodyPr/>
          <a:lstStyle/>
          <a:p>
            <a:endParaRPr lang="en-GB" dirty="0"/>
          </a:p>
        </p:txBody>
      </p:sp>
      <p:sp>
        <p:nvSpPr>
          <p:cNvPr id="4" name="Pladsholder til sidefod 3"/>
          <p:cNvSpPr>
            <a:spLocks noGrp="1"/>
          </p:cNvSpPr>
          <p:nvPr>
            <p:ph type="ftr" sz="quarter" idx="11"/>
          </p:nvPr>
        </p:nvSpPr>
        <p:spPr/>
        <p:txBody>
          <a:bodyPr/>
          <a:lstStyle/>
          <a:p>
            <a:endParaRPr lang="en-GB" dirty="0"/>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dirty="0"/>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da-DK" dirty="0"/>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ilføje billede</a:t>
            </a:r>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ilføje billede</a:t>
            </a:r>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ilføje billede</a:t>
            </a:r>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ilføje billede</a:t>
            </a:r>
          </a:p>
        </p:txBody>
      </p:sp>
    </p:spTree>
    <p:extLst>
      <p:ext uri="{BB962C8B-B14F-4D97-AF65-F5344CB8AC3E}">
        <p14:creationId xmlns:p14="http://schemas.microsoft.com/office/powerpoint/2010/main" val="2390802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5774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da-DK" dirty="0"/>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kort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da-DK" dirty="0"/>
              <a:t>Indsæt overskrift</a:t>
            </a:r>
          </a:p>
        </p:txBody>
      </p:sp>
    </p:spTree>
    <p:extLst>
      <p:ext uri="{BB962C8B-B14F-4D97-AF65-F5344CB8AC3E}">
        <p14:creationId xmlns:p14="http://schemas.microsoft.com/office/powerpoint/2010/main" val="3744227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dirty="0"/>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da-DK" dirty="0"/>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dirty="0"/>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da-DK" dirty="0"/>
              <a:t>Indsæt overskrift</a:t>
            </a:r>
          </a:p>
        </p:txBody>
      </p:sp>
    </p:spTree>
    <p:extLst>
      <p:ext uri="{BB962C8B-B14F-4D97-AF65-F5344CB8AC3E}">
        <p14:creationId xmlns:p14="http://schemas.microsoft.com/office/powerpoint/2010/main" val="818141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934856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a-DK" dirty="0"/>
              <a:t>Indsæt overskrift</a:t>
            </a:r>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DateCustomA"/>
          <p:cNvSpPr>
            <a:spLocks noGrp="1"/>
          </p:cNvSpPr>
          <p:nvPr>
            <p:ph type="dt" sz="half" idx="10"/>
          </p:nvPr>
        </p:nvSpPr>
        <p:spPr/>
        <p:txBody>
          <a:bodyPr/>
          <a:lstStyle/>
          <a:p>
            <a:endParaRPr lang="da-DK" dirty="0"/>
          </a:p>
        </p:txBody>
      </p:sp>
      <p:sp>
        <p:nvSpPr>
          <p:cNvPr id="5" name="FLD_PresentationTitle"/>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24C8C45C-947F-4981-8B3F-4F32E973C901}" type="slidenum">
              <a:rPr lang="da-DK" smtClean="0"/>
              <a:t>‹nr.›</a:t>
            </a:fld>
            <a:endParaRPr lang="da-DK" dirty="0"/>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da-DK" dirty="0"/>
              <a:t>Indsæt underoverskrift eller indledning</a:t>
            </a:r>
          </a:p>
        </p:txBody>
      </p:sp>
    </p:spTree>
    <p:extLst>
      <p:ext uri="{BB962C8B-B14F-4D97-AF65-F5344CB8AC3E}">
        <p14:creationId xmlns:p14="http://schemas.microsoft.com/office/powerpoint/2010/main" val="23690874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da-DK" sz="5000" dirty="0">
                <a:solidFill>
                  <a:schemeClr val="bg1"/>
                </a:solidFill>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23250802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da-DK" dirty="0"/>
              <a:t>KONTAKT: Tlf.: xx xx xx xx Mail: </a:t>
            </a:r>
            <a:r>
              <a:rPr lang="da-DK" dirty="0" err="1"/>
              <a:t>XXX@energinet.dk</a:t>
            </a:r>
            <a:endParaRPr lang="da-DK" dirty="0"/>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da-DK" sz="10000" dirty="0">
                <a:solidFill>
                  <a:schemeClr val="bg1"/>
                </a:solidFill>
              </a:rPr>
              <a:t>QUESTIONS</a:t>
            </a:r>
          </a:p>
        </p:txBody>
      </p:sp>
    </p:spTree>
    <p:extLst>
      <p:ext uri="{BB962C8B-B14F-4D97-AF65-F5344CB8AC3E}">
        <p14:creationId xmlns:p14="http://schemas.microsoft.com/office/powerpoint/2010/main" val="4239070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Bullet</a:t>
            </a:r>
            <a:r>
              <a:rPr lang="da-DK" altLang="da-DK" sz="900" b="0" noProof="1">
                <a:solidFill>
                  <a:schemeClr val="tx1"/>
                </a:solidFill>
                <a:latin typeface="Arial" panose="020B0604020202020204" pitchFamily="34" charset="0"/>
                <a:cs typeface="Arial" panose="020B0604020202020204" pitchFamily="34" charset="0"/>
              </a:rPr>
              <a:t>-knappen for at fjerne og</a:t>
            </a:r>
            <a:r>
              <a:rPr lang="da-DK" altLang="da-DK" sz="900" b="0" baseline="0" noProof="1">
                <a:solidFill>
                  <a:schemeClr val="tx1"/>
                </a:solidFill>
                <a:latin typeface="Arial" panose="020B0604020202020204" pitchFamily="34" charset="0"/>
                <a:cs typeface="Arial" panose="020B0604020202020204" pitchFamily="34" charset="0"/>
              </a:rPr>
              <a:t> sætte bullet på igen.</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dias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det layout, du ønsker,</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b="1" baseline="0" noProof="1">
                <a:solidFill>
                  <a:schemeClr val="tx1"/>
                </a:solidFill>
                <a:latin typeface="Arial" panose="020B0604020202020204" pitchFamily="34" charset="0"/>
                <a:cs typeface="Arial" panose="020B0604020202020204" pitchFamily="34" charset="0"/>
              </a:rPr>
              <a:t> </a:t>
            </a:r>
            <a:r>
              <a:rPr lang="da-DK" altLang="da-DK" sz="900" b="0" baseline="0" noProof="1">
                <a:solidFill>
                  <a:schemeClr val="tx1"/>
                </a:solidFill>
                <a:latin typeface="Arial" panose="020B0604020202020204" pitchFamily="34" charset="0"/>
                <a:cs typeface="Arial" panose="020B0604020202020204" pitchFamily="34" charset="0"/>
              </a:rPr>
              <a:t>Markér billedet. Klik på fanen </a:t>
            </a:r>
            <a:r>
              <a:rPr lang="da-DK" altLang="da-DK" sz="900" b="1" noProof="1">
                <a:solidFill>
                  <a:schemeClr val="tx1"/>
                </a:solidFill>
                <a:latin typeface="Arial" panose="020B0604020202020204" pitchFamily="34" charset="0"/>
                <a:cs typeface="Arial" panose="020B0604020202020204" pitchFamily="34" charset="0"/>
              </a:rPr>
              <a:t>Billedværktøjer</a:t>
            </a:r>
            <a:r>
              <a:rPr lang="da-DK" altLang="da-DK" sz="900" b="0" baseline="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ater</a:t>
            </a:r>
            <a:r>
              <a:rPr lang="da-DK" altLang="da-DK" sz="900" b="0" baseline="0" noProof="1">
                <a:solidFill>
                  <a:schemeClr val="tx1"/>
                </a:solidFill>
                <a:latin typeface="Arial" panose="020B0604020202020204" pitchFamily="34" charset="0"/>
                <a:cs typeface="Arial" panose="020B0604020202020204" pitchFamily="34" charset="0"/>
              </a:rPr>
              <a:t>.</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3252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1" name="Tekstfelt 10"/>
          <p:cNvSpPr txBox="1"/>
          <p:nvPr userDrawn="1"/>
        </p:nvSpPr>
        <p:spPr>
          <a:xfrm>
            <a:off x="2749328"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NØDUDGANGE</a:t>
            </a:r>
          </a:p>
        </p:txBody>
      </p:sp>
      <p:sp>
        <p:nvSpPr>
          <p:cNvPr id="12" name="Tekstfelt 11"/>
          <p:cNvSpPr txBox="1"/>
          <p:nvPr userDrawn="1"/>
        </p:nvSpPr>
        <p:spPr>
          <a:xfrm>
            <a:off x="521944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HJERTESTARTER</a:t>
            </a:r>
          </a:p>
        </p:txBody>
      </p:sp>
      <p:sp>
        <p:nvSpPr>
          <p:cNvPr id="13" name="Tekstfelt 12"/>
          <p:cNvSpPr txBox="1"/>
          <p:nvPr userDrawn="1"/>
        </p:nvSpPr>
        <p:spPr>
          <a:xfrm>
            <a:off x="7968792"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SAMLINGSSTED</a:t>
            </a:r>
          </a:p>
        </p:txBody>
      </p:sp>
      <p:pic>
        <p:nvPicPr>
          <p:cNvPr id="3" name="Billede 2" descr="Et billede, der indeholder tekst, clipart&#10;&#10;Automatisk genereret beskrivelse">
            <a:extLst>
              <a:ext uri="{FF2B5EF4-FFF2-40B4-BE49-F238E27FC236}">
                <a16:creationId xmlns:a16="http://schemas.microsoft.com/office/drawing/2014/main" id="{44F8C9F1-2E7E-B348-9536-95B3E0340C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8" r="669"/>
          <a:stretch/>
        </p:blipFill>
        <p:spPr>
          <a:xfrm>
            <a:off x="2714158" y="2146300"/>
            <a:ext cx="1650438" cy="1636776"/>
          </a:xfrm>
          <a:prstGeom prst="rect">
            <a:avLst/>
          </a:prstGeom>
        </p:spPr>
      </p:pic>
      <p:pic>
        <p:nvPicPr>
          <p:cNvPr id="14" name="Billede 13">
            <a:extLst>
              <a:ext uri="{FF2B5EF4-FFF2-40B4-BE49-F238E27FC236}">
                <a16:creationId xmlns:a16="http://schemas.microsoft.com/office/drawing/2014/main" id="{F91BF282-FC60-7E4F-8ED4-8CFE6E76CD7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718" t="1358" r="1509"/>
          <a:stretch/>
        </p:blipFill>
        <p:spPr>
          <a:xfrm>
            <a:off x="5410200" y="2168524"/>
            <a:ext cx="1593850" cy="1614551"/>
          </a:xfrm>
          <a:prstGeom prst="rect">
            <a:avLst/>
          </a:prstGeom>
        </p:spPr>
      </p:pic>
      <p:pic>
        <p:nvPicPr>
          <p:cNvPr id="17" name="Billede 16" descr="Et billede, der indeholder tekst, skilt, førstehjælpssæt, clipart&#10;&#10;Automatisk genereret beskrivelse">
            <a:extLst>
              <a:ext uri="{FF2B5EF4-FFF2-40B4-BE49-F238E27FC236}">
                <a16:creationId xmlns:a16="http://schemas.microsoft.com/office/drawing/2014/main" id="{948BE73B-F68F-9746-A38C-C0BEBB6BB3D0}"/>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21" t="1779" r="2336" b="-1"/>
          <a:stretch/>
        </p:blipFill>
        <p:spPr>
          <a:xfrm>
            <a:off x="8049654" y="2168524"/>
            <a:ext cx="1595235" cy="1614551"/>
          </a:xfrm>
          <a:prstGeom prst="rect">
            <a:avLst/>
          </a:prstGeom>
        </p:spPr>
      </p:pic>
    </p:spTree>
    <p:extLst>
      <p:ext uri="{BB962C8B-B14F-4D97-AF65-F5344CB8AC3E}">
        <p14:creationId xmlns:p14="http://schemas.microsoft.com/office/powerpoint/2010/main" val="21048050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Forside hvi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6C47443-1A01-2A0C-BC23-9179B79A5F65}"/>
              </a:ext>
            </a:extLst>
          </p:cNvPr>
          <p:cNvSpPr>
            <a:spLocks noGrp="1"/>
          </p:cNvSpPr>
          <p:nvPr>
            <p:ph type="ctrTitle" hasCustomPrompt="1"/>
          </p:nvPr>
        </p:nvSpPr>
        <p:spPr>
          <a:xfrm>
            <a:off x="2350257" y="1575836"/>
            <a:ext cx="7491487" cy="1846264"/>
          </a:xfrm>
          <a:prstGeom prst="rect">
            <a:avLst/>
          </a:prstGeom>
        </p:spPr>
        <p:txBody>
          <a:bodyPr anchor="b"/>
          <a:lstStyle>
            <a:lvl1pPr algn="ctr">
              <a:spcBef>
                <a:spcPts val="400"/>
              </a:spcBef>
              <a:defRPr sz="4800" baseline="0">
                <a:solidFill>
                  <a:schemeClr val="accent2"/>
                </a:solidFill>
              </a:defRPr>
            </a:lvl1pPr>
          </a:lstStyle>
          <a:p>
            <a:r>
              <a:rPr lang="da-DK" dirty="0"/>
              <a:t>Indsæt overskrift</a:t>
            </a:r>
          </a:p>
        </p:txBody>
      </p:sp>
      <p:sp>
        <p:nvSpPr>
          <p:cNvPr id="14" name="Subtitle 2">
            <a:extLst>
              <a:ext uri="{FF2B5EF4-FFF2-40B4-BE49-F238E27FC236}">
                <a16:creationId xmlns:a16="http://schemas.microsoft.com/office/drawing/2014/main" id="{435E4D8F-DD63-4B2C-C03F-C5254CE0645C}"/>
              </a:ext>
            </a:extLst>
          </p:cNvPr>
          <p:cNvSpPr>
            <a:spLocks noGrp="1"/>
          </p:cNvSpPr>
          <p:nvPr>
            <p:ph type="subTitle" idx="1" hasCustomPrompt="1"/>
          </p:nvPr>
        </p:nvSpPr>
        <p:spPr>
          <a:xfrm>
            <a:off x="2350257" y="3484916"/>
            <a:ext cx="7491487" cy="524933"/>
          </a:xfrm>
          <a:prstGeom prst="rect">
            <a:avLst/>
          </a:prstGeom>
        </p:spPr>
        <p:txBody>
          <a:bodyPr/>
          <a:lstStyle>
            <a:lvl1pPr marL="0" indent="0" algn="ctr">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dirty="0"/>
              <a:t>Indsæt underoverskrift</a:t>
            </a:r>
          </a:p>
        </p:txBody>
      </p:sp>
      <p:sp>
        <p:nvSpPr>
          <p:cNvPr id="15" name="Text Placeholder 8">
            <a:extLst>
              <a:ext uri="{FF2B5EF4-FFF2-40B4-BE49-F238E27FC236}">
                <a16:creationId xmlns:a16="http://schemas.microsoft.com/office/drawing/2014/main" id="{F7B435E4-2F02-5818-14D5-1BE318E5DE8E}"/>
              </a:ext>
            </a:extLst>
          </p:cNvPr>
          <p:cNvSpPr>
            <a:spLocks noGrp="1"/>
          </p:cNvSpPr>
          <p:nvPr>
            <p:ph type="body" sz="quarter" idx="13" hasCustomPrompt="1"/>
          </p:nvPr>
        </p:nvSpPr>
        <p:spPr>
          <a:xfrm>
            <a:off x="2349992" y="4072136"/>
            <a:ext cx="7492016" cy="458788"/>
          </a:xfrm>
          <a:prstGeom prst="rect">
            <a:avLst/>
          </a:prstGeom>
        </p:spPr>
        <p:txBody>
          <a:bodyPr/>
          <a:lstStyle>
            <a:lvl1pPr marL="0" indent="0" algn="ctr">
              <a:spcBef>
                <a:spcPts val="0"/>
              </a:spcBef>
              <a:buFont typeface="Arial" panose="020B0604020202020204" pitchFamily="34" charset="0"/>
              <a:buNone/>
              <a:defRPr sz="2400" i="1">
                <a:solidFill>
                  <a:schemeClr val="accent2"/>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dirty="0"/>
              <a:t>Indsæt navn og efternavn</a:t>
            </a:r>
          </a:p>
        </p:txBody>
      </p:sp>
      <p:pic>
        <p:nvPicPr>
          <p:cNvPr id="30" name="Billede 29" descr="Et billede, der indeholder Symmetri, kunst, design&#10;&#10;Automatisk genereret beskrivelse">
            <a:extLst>
              <a:ext uri="{FF2B5EF4-FFF2-40B4-BE49-F238E27FC236}">
                <a16:creationId xmlns:a16="http://schemas.microsoft.com/office/drawing/2014/main" id="{2C188F76-8E77-88BF-5EE3-D422CE30E208}"/>
              </a:ext>
            </a:extLst>
          </p:cNvPr>
          <p:cNvPicPr>
            <a:picLocks noChangeAspect="1"/>
          </p:cNvPicPr>
          <p:nvPr userDrawn="1"/>
        </p:nvPicPr>
        <p:blipFill>
          <a:blip r:embed="rId2"/>
          <a:stretch>
            <a:fillRect/>
          </a:stretch>
        </p:blipFill>
        <p:spPr>
          <a:xfrm>
            <a:off x="0" y="1729780"/>
            <a:ext cx="5130800" cy="5143500"/>
          </a:xfrm>
          <a:prstGeom prst="rect">
            <a:avLst/>
          </a:prstGeom>
        </p:spPr>
      </p:pic>
    </p:spTree>
    <p:extLst>
      <p:ext uri="{BB962C8B-B14F-4D97-AF65-F5344CB8AC3E}">
        <p14:creationId xmlns:p14="http://schemas.microsoft.com/office/powerpoint/2010/main" val="15441838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3" name="Supergrafi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da-DK"/>
              <a:t>Indsæt overskrift</a:t>
            </a:r>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nr.›</a:t>
            </a:fld>
            <a:endParaRPr lang="da-DK"/>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spTree>
    <p:extLst>
      <p:ext uri="{BB962C8B-B14F-4D97-AF65-F5344CB8AC3E}">
        <p14:creationId xmlns:p14="http://schemas.microsoft.com/office/powerpoint/2010/main" val="27391038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a-DK"/>
              <a:t>Indsæt overskrift</a:t>
            </a:r>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nr.›</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18967263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nr.›</a:t>
            </a:fld>
            <a:endParaRPr lang="da-DK"/>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da-DK"/>
              <a:t>Indsæt overskrift</a:t>
            </a:r>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3761195693"/>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5184848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2609389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a:t>Træk billede til pladsholder eller klik på symbol for at tilføje billede</a:t>
            </a:r>
          </a:p>
        </p:txBody>
      </p:sp>
      <p:sp>
        <p:nvSpPr>
          <p:cNvPr id="5" name="Date_DateCustomA"/>
          <p:cNvSpPr>
            <a:spLocks noGrp="1"/>
          </p:cNvSpPr>
          <p:nvPr>
            <p:ph type="dt" sz="half" idx="10"/>
          </p:nvPr>
        </p:nvSpPr>
        <p:spPr/>
        <p:txBody>
          <a:bodyPr/>
          <a:lstStyle/>
          <a:p>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24C8C45C-947F-4981-8B3F-4F32E973C901}" type="slidenum">
              <a:rPr lang="da-DK" smtClean="0"/>
              <a:t>‹nr.›</a:t>
            </a:fld>
            <a:endParaRPr lang="da-DK" dirty="0"/>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da-DK" dirty="0"/>
              <a:t>Indsæt overskrift</a:t>
            </a:r>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da-DK" dirty="0"/>
              <a:t>Indsæt underoverskrift eller indledning</a:t>
            </a:r>
          </a:p>
        </p:txBody>
      </p:sp>
    </p:spTree>
    <p:extLst>
      <p:ext uri="{BB962C8B-B14F-4D97-AF65-F5344CB8AC3E}">
        <p14:creationId xmlns:p14="http://schemas.microsoft.com/office/powerpoint/2010/main" val="3745675976"/>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GB" smtClean="0"/>
              <a:pPr/>
              <a:t>‹nr.›</a:t>
            </a:fld>
            <a:endParaRPr lang="en-GB"/>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da-DK"/>
              <a:t>PROGRAM</a:t>
            </a:r>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da-DK"/>
              <a:t>Tekst
Tekst 
Tekst 
 Tekst 
 Tekst</a:t>
            </a:r>
          </a:p>
          <a:p>
            <a:r>
              <a:rPr lang="da-DK"/>
              <a:t> Tekst</a:t>
            </a:r>
          </a:p>
          <a:p>
            <a:r>
              <a:rPr lang="da-DK"/>
              <a:t> Tekst</a:t>
            </a:r>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15689776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da-DK"/>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evt. kort understøttende tekst</a:t>
            </a:r>
          </a:p>
        </p:txBody>
      </p:sp>
    </p:spTree>
    <p:extLst>
      <p:ext uri="{BB962C8B-B14F-4D97-AF65-F5344CB8AC3E}">
        <p14:creationId xmlns:p14="http://schemas.microsoft.com/office/powerpoint/2010/main" val="29702922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brødtekst</a:t>
            </a:r>
          </a:p>
          <a:p>
            <a:pPr lvl="1"/>
            <a:r>
              <a:rPr lang="da-DK"/>
              <a:t>Second </a:t>
            </a:r>
            <a:r>
              <a:rPr lang="da-DK" err="1"/>
              <a:t>level</a:t>
            </a:r>
            <a:endParaRPr lang="da-DK"/>
          </a:p>
        </p:txBody>
      </p:sp>
    </p:spTree>
    <p:extLst>
      <p:ext uri="{BB962C8B-B14F-4D97-AF65-F5344CB8AC3E}">
        <p14:creationId xmlns:p14="http://schemas.microsoft.com/office/powerpoint/2010/main" val="3349062222"/>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6143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Tree>
    <p:extLst>
      <p:ext uri="{BB962C8B-B14F-4D97-AF65-F5344CB8AC3E}">
        <p14:creationId xmlns:p14="http://schemas.microsoft.com/office/powerpoint/2010/main" val="22081664"/>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da-DK"/>
              <a:t>Indsæt fakta</a:t>
            </a:r>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endParaRPr lang="da-DK"/>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Tree>
    <p:extLst>
      <p:ext uri="{BB962C8B-B14F-4D97-AF65-F5344CB8AC3E}">
        <p14:creationId xmlns:p14="http://schemas.microsoft.com/office/powerpoint/2010/main" val="775841430"/>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da-DK"/>
              <a:t>Indsæt overskrift</a:t>
            </a:r>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p:nvPr>
        </p:nvSpPr>
        <p:spPr>
          <a:xfrm>
            <a:off x="982662" y="2227943"/>
            <a:ext cx="3248251" cy="4126359"/>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p:nvPr>
        </p:nvSpPr>
        <p:spPr>
          <a:xfrm>
            <a:off x="4465769" y="2227943"/>
            <a:ext cx="3248251" cy="4126359"/>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da-DK"/>
              <a:t>Klik for at redigere teksttypografierne i masteren</a:t>
            </a:r>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endParaRPr lang="en-GB"/>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endParaRPr lang="en-GB"/>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GB" smtClean="0"/>
              <a:pPr/>
              <a:t>‹nr.›</a:t>
            </a:fld>
            <a:endParaRPr lang="en-GB"/>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10746494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2012098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da-DK"/>
              <a:t>Indsæt ikon</a:t>
            </a:r>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da-DK"/>
              <a:t>Indsæt ikon</a:t>
            </a:r>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da-DK"/>
              <a:t>Indsæt ikon</a:t>
            </a:r>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da-DK"/>
              <a:t>Indsæt ikon</a:t>
            </a:r>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da-DK"/>
              <a:t>Indsæt ikon</a:t>
            </a:r>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da-DK"/>
              <a:t>Indsæt ikon</a:t>
            </a:r>
          </a:p>
        </p:txBody>
      </p:sp>
    </p:spTree>
    <p:extLst>
      <p:ext uri="{BB962C8B-B14F-4D97-AF65-F5344CB8AC3E}">
        <p14:creationId xmlns:p14="http://schemas.microsoft.com/office/powerpoint/2010/main" val="4549182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2916302"/>
            <a:ext cx="2398100" cy="3438000"/>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2916302"/>
            <a:ext cx="2398100" cy="3438000"/>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2916302"/>
            <a:ext cx="2398100" cy="3438000"/>
          </a:xfrm>
          <a:solidFill>
            <a:schemeClr val="bg2"/>
          </a:solidFill>
        </p:spPr>
        <p:txBody>
          <a:bodyPr/>
          <a:lstStyle>
            <a:lvl1pPr>
              <a:defRPr>
                <a:solidFill>
                  <a:schemeClr val="bg2"/>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2916302"/>
            <a:ext cx="2398100" cy="3438000"/>
          </a:xfrm>
          <a:solidFill>
            <a:schemeClr val="accent5"/>
          </a:solidFill>
        </p:spPr>
        <p:txBody>
          <a:bodyPr/>
          <a:lstStyle>
            <a:lvl1pPr>
              <a:defRPr>
                <a:solidFill>
                  <a:schemeClr val="accent5"/>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Tree>
    <p:extLst>
      <p:ext uri="{BB962C8B-B14F-4D97-AF65-F5344CB8AC3E}">
        <p14:creationId xmlns:p14="http://schemas.microsoft.com/office/powerpoint/2010/main" val="2380739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Tree>
    <p:extLst>
      <p:ext uri="{BB962C8B-B14F-4D97-AF65-F5344CB8AC3E}">
        <p14:creationId xmlns:p14="http://schemas.microsoft.com/office/powerpoint/2010/main" val="3521849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dirty="0"/>
              <a:t>Indsæt overskrift</a:t>
            </a:r>
          </a:p>
        </p:txBody>
      </p:sp>
      <p:sp>
        <p:nvSpPr>
          <p:cNvPr id="3" name="Pladsholder til dato 2"/>
          <p:cNvSpPr>
            <a:spLocks noGrp="1"/>
          </p:cNvSpPr>
          <p:nvPr>
            <p:ph type="dt" sz="half" idx="10"/>
          </p:nvPr>
        </p:nvSpPr>
        <p:spPr/>
        <p:txBody>
          <a:bodyPr/>
          <a:lstStyle/>
          <a:p>
            <a:endParaRPr lang="en-GB" dirty="0"/>
          </a:p>
        </p:txBody>
      </p:sp>
      <p:sp>
        <p:nvSpPr>
          <p:cNvPr id="4" name="Pladsholder til sidefod 3"/>
          <p:cNvSpPr>
            <a:spLocks noGrp="1"/>
          </p:cNvSpPr>
          <p:nvPr>
            <p:ph type="ftr" sz="quarter" idx="11"/>
          </p:nvPr>
        </p:nvSpPr>
        <p:spPr/>
        <p:txBody>
          <a:bodyPr/>
          <a:lstStyle/>
          <a:p>
            <a:endParaRPr lang="en-GB" dirty="0"/>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dirty="0"/>
              <a:t>Indsæt underoverskrift eller indledning</a:t>
            </a:r>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9316291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369814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kort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17170932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3376523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42917594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da-DK" sz="5000">
                <a:solidFill>
                  <a:schemeClr val="bg1"/>
                </a:solidFill>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38829437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da-DK"/>
              <a:t>KONTAKT: Tlf.: xx xx xx xx Mail: </a:t>
            </a:r>
            <a:r>
              <a:rPr lang="da-DK" err="1"/>
              <a:t>XXX@energinet.dk</a:t>
            </a:r>
            <a:endParaRPr lang="da-DK"/>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da-DK" sz="10000">
                <a:solidFill>
                  <a:schemeClr val="bg1"/>
                </a:solidFill>
              </a:rPr>
              <a:t>SPØRGSMÅL</a:t>
            </a:r>
          </a:p>
        </p:txBody>
      </p:sp>
    </p:spTree>
    <p:extLst>
      <p:ext uri="{BB962C8B-B14F-4D97-AF65-F5344CB8AC3E}">
        <p14:creationId xmlns:p14="http://schemas.microsoft.com/office/powerpoint/2010/main" val="1162252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Bullet</a:t>
            </a:r>
            <a:r>
              <a:rPr lang="da-DK" altLang="da-DK" sz="900" b="0" noProof="1">
                <a:solidFill>
                  <a:schemeClr val="tx1"/>
                </a:solidFill>
                <a:latin typeface="Arial" panose="020B0604020202020204" pitchFamily="34" charset="0"/>
                <a:cs typeface="Arial" panose="020B0604020202020204" pitchFamily="34" charset="0"/>
              </a:rPr>
              <a:t>-knappen for at fjerne og</a:t>
            </a:r>
            <a:r>
              <a:rPr lang="da-DK" altLang="da-DK" sz="900" b="0" baseline="0" noProof="1">
                <a:solidFill>
                  <a:schemeClr val="tx1"/>
                </a:solidFill>
                <a:latin typeface="Arial" panose="020B0604020202020204" pitchFamily="34" charset="0"/>
                <a:cs typeface="Arial" panose="020B0604020202020204" pitchFamily="34" charset="0"/>
              </a:rPr>
              <a:t> sætte bullet på igen.</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dias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det layout, du ønsker,</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b="1" baseline="0" noProof="1">
                <a:solidFill>
                  <a:schemeClr val="tx1"/>
                </a:solidFill>
                <a:latin typeface="Arial" panose="020B0604020202020204" pitchFamily="34" charset="0"/>
                <a:cs typeface="Arial" panose="020B0604020202020204" pitchFamily="34" charset="0"/>
              </a:rPr>
              <a:t> </a:t>
            </a:r>
            <a:r>
              <a:rPr lang="da-DK" altLang="da-DK" sz="900" b="0" baseline="0" noProof="1">
                <a:solidFill>
                  <a:schemeClr val="tx1"/>
                </a:solidFill>
                <a:latin typeface="Arial" panose="020B0604020202020204" pitchFamily="34" charset="0"/>
                <a:cs typeface="Arial" panose="020B0604020202020204" pitchFamily="34" charset="0"/>
              </a:rPr>
              <a:t>Markér billedet. Klik på fanen </a:t>
            </a:r>
            <a:r>
              <a:rPr lang="da-DK" altLang="da-DK" sz="900" b="1" noProof="1">
                <a:solidFill>
                  <a:schemeClr val="tx1"/>
                </a:solidFill>
                <a:latin typeface="Arial" panose="020B0604020202020204" pitchFamily="34" charset="0"/>
                <a:cs typeface="Arial" panose="020B0604020202020204" pitchFamily="34" charset="0"/>
              </a:rPr>
              <a:t>Billedværktøjer</a:t>
            </a:r>
            <a:r>
              <a:rPr lang="da-DK" altLang="da-DK" sz="900" b="0" baseline="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ater</a:t>
            </a:r>
            <a:r>
              <a:rPr lang="da-DK" altLang="da-DK" sz="900" b="0" baseline="0" noProof="1">
                <a:solidFill>
                  <a:schemeClr val="tx1"/>
                </a:solidFill>
                <a:latin typeface="Arial" panose="020B0604020202020204" pitchFamily="34" charset="0"/>
                <a:cs typeface="Arial" panose="020B0604020202020204" pitchFamily="34" charset="0"/>
              </a:rPr>
              <a:t>.</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0808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pic>
        <p:nvPicPr>
          <p:cNvPr id="6" name="Bille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03086" y="2146300"/>
            <a:ext cx="1655064" cy="1636776"/>
          </a:xfrm>
          <a:prstGeom prst="rect">
            <a:avLst/>
          </a:prstGeom>
        </p:spPr>
      </p:pic>
      <p:pic>
        <p:nvPicPr>
          <p:cNvPr id="7" name="Billed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50507" y="2146300"/>
            <a:ext cx="1655064" cy="1636776"/>
          </a:xfrm>
          <a:prstGeom prst="rect">
            <a:avLst/>
          </a:prstGeom>
        </p:spPr>
      </p:pic>
      <p:pic>
        <p:nvPicPr>
          <p:cNvPr id="8" name="Billed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697928" y="2146300"/>
            <a:ext cx="1655064" cy="1636776"/>
          </a:xfrm>
          <a:prstGeom prst="rect">
            <a:avLst/>
          </a:prstGeom>
        </p:spPr>
      </p:pic>
      <p:pic>
        <p:nvPicPr>
          <p:cNvPr id="9" name="Billed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755665" y="2146300"/>
            <a:ext cx="1655064" cy="1636776"/>
          </a:xfrm>
          <a:prstGeom prst="rect">
            <a:avLst/>
          </a:prstGeom>
        </p:spPr>
      </p:pic>
      <p:sp>
        <p:nvSpPr>
          <p:cNvPr id="10" name="Tekstfelt 9"/>
          <p:cNvSpPr txBox="1"/>
          <p:nvPr userDrawn="1"/>
        </p:nvSpPr>
        <p:spPr>
          <a:xfrm>
            <a:off x="1555054" y="4057651"/>
            <a:ext cx="2073972" cy="615553"/>
          </a:xfrm>
          <a:prstGeom prst="rect">
            <a:avLst/>
          </a:prstGeom>
          <a:noFill/>
        </p:spPr>
        <p:txBody>
          <a:bodyPr wrap="square" lIns="0" tIns="0" rIns="0" bIns="0" rtlCol="0">
            <a:spAutoFit/>
          </a:bodyPr>
          <a:lstStyle/>
          <a:p>
            <a:r>
              <a:rPr lang="da-DK" sz="2000">
                <a:solidFill>
                  <a:schemeClr val="bg1"/>
                </a:solidFill>
                <a:latin typeface="Calibri" charset="0"/>
                <a:ea typeface="Calibri" charset="0"/>
                <a:cs typeface="Calibri" charset="0"/>
              </a:rPr>
              <a:t>SIKKERHEDSGUIDE</a:t>
            </a:r>
          </a:p>
          <a:p>
            <a:endParaRPr lang="da-DK" sz="2000" err="1">
              <a:solidFill>
                <a:schemeClr val="bg1"/>
              </a:solidFill>
              <a:latin typeface="Calibri" charset="0"/>
              <a:ea typeface="Calibri" charset="0"/>
              <a:cs typeface="Calibri" charset="0"/>
            </a:endParaRPr>
          </a:p>
        </p:txBody>
      </p:sp>
      <p:sp>
        <p:nvSpPr>
          <p:cNvPr id="11" name="Tekstfelt 10"/>
          <p:cNvSpPr txBox="1"/>
          <p:nvPr userDrawn="1"/>
        </p:nvSpPr>
        <p:spPr>
          <a:xfrm>
            <a:off x="4118517"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NØDUDGANGE</a:t>
            </a:r>
          </a:p>
        </p:txBody>
      </p:sp>
      <p:sp>
        <p:nvSpPr>
          <p:cNvPr id="12" name="Tekstfelt 11"/>
          <p:cNvSpPr txBox="1"/>
          <p:nvPr userDrawn="1"/>
        </p:nvSpPr>
        <p:spPr>
          <a:xfrm>
            <a:off x="618877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HJERTESTARTER</a:t>
            </a:r>
          </a:p>
        </p:txBody>
      </p:sp>
      <p:sp>
        <p:nvSpPr>
          <p:cNvPr id="13" name="Tekstfelt 12"/>
          <p:cNvSpPr txBox="1"/>
          <p:nvPr userDrawn="1"/>
        </p:nvSpPr>
        <p:spPr>
          <a:xfrm>
            <a:off x="8674803"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SAMLINGSSTED</a:t>
            </a:r>
          </a:p>
        </p:txBody>
      </p:sp>
    </p:spTree>
    <p:extLst>
      <p:ext uri="{BB962C8B-B14F-4D97-AF65-F5344CB8AC3E}">
        <p14:creationId xmlns:p14="http://schemas.microsoft.com/office/powerpoint/2010/main" val="1257558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319646"/>
            <a:ext cx="5232400" cy="1538883"/>
          </a:xfrm>
          <a:prstGeom prst="rect">
            <a:avLst/>
          </a:prstGeom>
          <a:noFill/>
        </p:spPr>
        <p:txBody>
          <a:bodyPr wrap="square" lIns="0" tIns="0" rIns="0" bIns="0" rtlCol="0">
            <a:spAutoFit/>
          </a:bodyPr>
          <a:lstStyle/>
          <a:p>
            <a:pPr algn="ctr"/>
            <a:r>
              <a:rPr lang="da-DK" sz="10000" b="0" i="0" dirty="0">
                <a:solidFill>
                  <a:schemeClr val="bg1"/>
                </a:solidFill>
                <a:latin typeface="Calibri" panose="020F0502020204030204" pitchFamily="34" charset="0"/>
                <a:cs typeface="Calibri" panose="020F0502020204030204" pitchFamily="34" charset="0"/>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162660"/>
            <a:ext cx="4020155" cy="3935895"/>
          </a:xfrm>
          <a:prstGeom prst="rect">
            <a:avLst/>
          </a:prstGeom>
        </p:spPr>
      </p:pic>
      <p:pic>
        <p:nvPicPr>
          <p:cNvPr id="2" name="Logo">
            <a:extLst>
              <a:ext uri="{FF2B5EF4-FFF2-40B4-BE49-F238E27FC236}">
                <a16:creationId xmlns:a16="http://schemas.microsoft.com/office/drawing/2014/main" id="{FDCA5DD0-D137-F373-5EFF-AA079EC6946D}"/>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850369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60435D9-BCB7-53B7-1DB8-BA1B6DE1C31E}"/>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pic>
        <p:nvPicPr>
          <p:cNvPr id="3" name="Billede 2" descr="Et billede, der indeholder Font/skrifttype, håndskrift, Grafik, skærmbillede&#10;&#10;Automatisk genereret beskrivelse">
            <a:extLst>
              <a:ext uri="{FF2B5EF4-FFF2-40B4-BE49-F238E27FC236}">
                <a16:creationId xmlns:a16="http://schemas.microsoft.com/office/drawing/2014/main" id="{8F303755-1C00-2824-E9AB-A4846A5777F0}"/>
              </a:ext>
            </a:extLst>
          </p:cNvPr>
          <p:cNvPicPr>
            <a:picLocks noChangeAspect="1"/>
          </p:cNvPicPr>
          <p:nvPr userDrawn="1"/>
        </p:nvPicPr>
        <p:blipFill rotWithShape="1">
          <a:blip r:embed="rId2" cstate="print">
            <a:alphaModFix amt="43000"/>
            <a:extLst>
              <a:ext uri="{28A0092B-C50C-407E-A947-70E740481C1C}">
                <a14:useLocalDpi xmlns:a14="http://schemas.microsoft.com/office/drawing/2010/main"/>
              </a:ext>
            </a:extLst>
          </a:blip>
          <a:srcRect l="-1750" t="-1629" r="-323" b="833"/>
          <a:stretch/>
        </p:blipFill>
        <p:spPr>
          <a:xfrm>
            <a:off x="225287" y="45219"/>
            <a:ext cx="11581055" cy="6580474"/>
          </a:xfrm>
          <a:prstGeom prst="rect">
            <a:avLst/>
          </a:prstGeom>
        </p:spPr>
      </p:pic>
      <p:sp>
        <p:nvSpPr>
          <p:cNvPr id="10" name="Tekstfelt 9">
            <a:extLst>
              <a:ext uri="{FF2B5EF4-FFF2-40B4-BE49-F238E27FC236}">
                <a16:creationId xmlns:a16="http://schemas.microsoft.com/office/drawing/2014/main" id="{0D036347-34D0-5BEA-F207-13C5006B23FB}"/>
              </a:ext>
            </a:extLst>
          </p:cNvPr>
          <p:cNvSpPr txBox="1"/>
          <p:nvPr userDrawn="1"/>
        </p:nvSpPr>
        <p:spPr>
          <a:xfrm>
            <a:off x="2460812" y="2770048"/>
            <a:ext cx="7145641" cy="1538883"/>
          </a:xfrm>
          <a:prstGeom prst="rect">
            <a:avLst/>
          </a:prstGeom>
          <a:noFill/>
        </p:spPr>
        <p:txBody>
          <a:bodyPr wrap="square" lIns="0" tIns="0" rIns="0" bIns="0" rtlCol="0">
            <a:spAutoFit/>
          </a:bodyPr>
          <a:lstStyle/>
          <a:p>
            <a:r>
              <a:rPr lang="da-DK" sz="10000" b="0" i="0" dirty="0">
                <a:solidFill>
                  <a:schemeClr val="bg1"/>
                </a:solidFill>
                <a:latin typeface="Calibri" panose="020F0502020204030204" pitchFamily="34" charset="0"/>
                <a:cs typeface="Calibri" panose="020F0502020204030204" pitchFamily="34" charset="0"/>
              </a:rPr>
              <a:t>SPØRGSMÅL?</a:t>
            </a:r>
          </a:p>
        </p:txBody>
      </p:sp>
      <p:pic>
        <p:nvPicPr>
          <p:cNvPr id="4" name="Logo">
            <a:extLst>
              <a:ext uri="{FF2B5EF4-FFF2-40B4-BE49-F238E27FC236}">
                <a16:creationId xmlns:a16="http://schemas.microsoft.com/office/drawing/2014/main" id="{9F6AC777-9D59-F93B-B2B3-099FF5328193}"/>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7900673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dirty="0"/>
              <a:t>Indsæt overskrift</a:t>
            </a:r>
          </a:p>
        </p:txBody>
      </p:sp>
      <p:sp>
        <p:nvSpPr>
          <p:cNvPr id="3" name="Pladsholder til dato 2"/>
          <p:cNvSpPr>
            <a:spLocks noGrp="1"/>
          </p:cNvSpPr>
          <p:nvPr>
            <p:ph type="dt" sz="half" idx="10"/>
          </p:nvPr>
        </p:nvSpPr>
        <p:spPr/>
        <p:txBody>
          <a:bodyPr/>
          <a:lstStyle/>
          <a:p>
            <a:endParaRPr lang="en-GB" dirty="0"/>
          </a:p>
        </p:txBody>
      </p:sp>
      <p:sp>
        <p:nvSpPr>
          <p:cNvPr id="4" name="Pladsholder til sidefod 3"/>
          <p:cNvSpPr>
            <a:spLocks noGrp="1"/>
          </p:cNvSpPr>
          <p:nvPr>
            <p:ph type="ftr" sz="quarter" idx="11"/>
          </p:nvPr>
        </p:nvSpPr>
        <p:spPr/>
        <p:txBody>
          <a:bodyPr/>
          <a:lstStyle/>
          <a:p>
            <a:endParaRPr lang="en-GB" dirty="0"/>
          </a:p>
        </p:txBody>
      </p:sp>
      <p:sp>
        <p:nvSpPr>
          <p:cNvPr id="5" name="Pladsholder til slidenummer 4"/>
          <p:cNvSpPr>
            <a:spLocks noGrp="1"/>
          </p:cNvSpPr>
          <p:nvPr>
            <p:ph type="sldNum" sz="quarter" idx="12"/>
          </p:nvPr>
        </p:nvSpPr>
        <p:spPr/>
        <p:txBody>
          <a:bodyPr/>
          <a:lstStyle/>
          <a:p>
            <a:fld id="{24C8C45C-947F-4981-8B3F-4F32E973C901}" type="slidenum">
              <a:rPr lang="en-GB" smtClean="0"/>
              <a:pPr/>
              <a:t>‹nr.›</a:t>
            </a:fld>
            <a:endParaRPr lang="en-GB"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dirty="0"/>
              <a:t>Indsæt underoverskrift eller indledning</a:t>
            </a:r>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da-DK" dirty="0"/>
              <a:t>Klik for at indsætte brød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983903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pic>
        <p:nvPicPr>
          <p:cNvPr id="2" name="Supergrafik">
            <a:extLst>
              <a:ext uri="{FF2B5EF4-FFF2-40B4-BE49-F238E27FC236}">
                <a16:creationId xmlns:a16="http://schemas.microsoft.com/office/drawing/2014/main" id="{8CE9D459-4DBE-6556-D3C4-1B6511DB36FF}"/>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r="-14247"/>
          <a:stretch/>
        </p:blipFill>
        <p:spPr>
          <a:xfrm rot="16200000">
            <a:off x="-713" y="2076281"/>
            <a:ext cx="4782432" cy="4781006"/>
          </a:xfrm>
          <a:prstGeom prst="rect">
            <a:avLst/>
          </a:prstGeom>
        </p:spPr>
      </p:pic>
      <p:sp>
        <p:nvSpPr>
          <p:cNvPr id="11" name="Tekstfelt 10"/>
          <p:cNvSpPr txBox="1"/>
          <p:nvPr userDrawn="1"/>
        </p:nvSpPr>
        <p:spPr>
          <a:xfrm>
            <a:off x="2868598"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NØDUDGANGE</a:t>
            </a:r>
          </a:p>
        </p:txBody>
      </p:sp>
      <p:sp>
        <p:nvSpPr>
          <p:cNvPr id="12" name="Tekstfelt 11"/>
          <p:cNvSpPr txBox="1"/>
          <p:nvPr userDrawn="1"/>
        </p:nvSpPr>
        <p:spPr>
          <a:xfrm>
            <a:off x="533871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HJERTESTARTER</a:t>
            </a:r>
          </a:p>
        </p:txBody>
      </p:sp>
      <p:sp>
        <p:nvSpPr>
          <p:cNvPr id="13" name="Tekstfelt 12"/>
          <p:cNvSpPr txBox="1"/>
          <p:nvPr userDrawn="1"/>
        </p:nvSpPr>
        <p:spPr>
          <a:xfrm>
            <a:off x="8088062"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dirty="0">
                <a:solidFill>
                  <a:schemeClr val="bg1"/>
                </a:solidFill>
                <a:latin typeface="Calibri" charset="0"/>
                <a:ea typeface="Calibri" charset="0"/>
                <a:cs typeface="Calibri" charset="0"/>
              </a:rPr>
              <a:t>SAMLINGSSTED</a:t>
            </a:r>
          </a:p>
        </p:txBody>
      </p:sp>
      <p:pic>
        <p:nvPicPr>
          <p:cNvPr id="3" name="Billede 2" descr="Et billede, der indeholder tekst, clipart&#10;&#10;Automatisk genereret beskrivelse">
            <a:extLst>
              <a:ext uri="{FF2B5EF4-FFF2-40B4-BE49-F238E27FC236}">
                <a16:creationId xmlns:a16="http://schemas.microsoft.com/office/drawing/2014/main" id="{44F8C9F1-2E7E-B348-9536-95B3E0340CF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884"/>
          <a:stretch/>
        </p:blipFill>
        <p:spPr>
          <a:xfrm>
            <a:off x="2833428" y="2146300"/>
            <a:ext cx="1650438" cy="1636776"/>
          </a:xfrm>
          <a:prstGeom prst="rect">
            <a:avLst/>
          </a:prstGeom>
          <a:ln>
            <a:solidFill>
              <a:schemeClr val="bg1"/>
            </a:solidFill>
          </a:ln>
        </p:spPr>
      </p:pic>
      <p:pic>
        <p:nvPicPr>
          <p:cNvPr id="14" name="Billede 13">
            <a:extLst>
              <a:ext uri="{FF2B5EF4-FFF2-40B4-BE49-F238E27FC236}">
                <a16:creationId xmlns:a16="http://schemas.microsoft.com/office/drawing/2014/main" id="{F91BF282-FC60-7E4F-8ED4-8CFE6E76CD7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29470" y="2168524"/>
            <a:ext cx="1593850" cy="1614551"/>
          </a:xfrm>
          <a:prstGeom prst="rect">
            <a:avLst/>
          </a:prstGeom>
          <a:ln>
            <a:solidFill>
              <a:schemeClr val="bg1"/>
            </a:solidFill>
          </a:ln>
        </p:spPr>
      </p:pic>
      <p:pic>
        <p:nvPicPr>
          <p:cNvPr id="17" name="Billede 16" descr="Et billede, der indeholder tekst, skilt, førstehjælpssæt, clipart&#10;&#10;Automatisk genereret beskrivelse">
            <a:extLst>
              <a:ext uri="{FF2B5EF4-FFF2-40B4-BE49-F238E27FC236}">
                <a16:creationId xmlns:a16="http://schemas.microsoft.com/office/drawing/2014/main" id="{948BE73B-F68F-9746-A38C-C0BEBB6BB3D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1"/>
          <a:stretch/>
        </p:blipFill>
        <p:spPr>
          <a:xfrm>
            <a:off x="8168924" y="2168524"/>
            <a:ext cx="1595235" cy="1614551"/>
          </a:xfrm>
          <a:prstGeom prst="rect">
            <a:avLst/>
          </a:prstGeom>
          <a:ln>
            <a:solidFill>
              <a:schemeClr val="bg1"/>
            </a:solidFill>
          </a:ln>
        </p:spPr>
      </p:pic>
      <p:pic>
        <p:nvPicPr>
          <p:cNvPr id="4" name="Logo">
            <a:extLst>
              <a:ext uri="{FF2B5EF4-FFF2-40B4-BE49-F238E27FC236}">
                <a16:creationId xmlns:a16="http://schemas.microsoft.com/office/drawing/2014/main" id="{12BDFA15-B254-0094-FAF0-501F796C6DF3}"/>
              </a:ext>
            </a:extLst>
          </p:cNvPr>
          <p:cNvPicPr>
            <a:picLocks noChangeAspect="1"/>
          </p:cNvPicPr>
          <p:nvPr userDrawn="1"/>
        </p:nvPicPr>
        <p:blipFill>
          <a:blip r:embed="rId6"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0463296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p">
    <p:spTree>
      <p:nvGrpSpPr>
        <p:cNvPr id="1" name=""/>
        <p:cNvGrpSpPr/>
        <p:nvPr/>
      </p:nvGrpSpPr>
      <p:grpSpPr>
        <a:xfrm>
          <a:off x="0" y="0"/>
          <a:ext cx="0" cy="0"/>
          <a:chOff x="0" y="0"/>
          <a:chExt cx="0" cy="0"/>
        </a:xfrm>
      </p:grpSpPr>
      <p:sp>
        <p:nvSpPr>
          <p:cNvPr id="28" name="Rektangel 27">
            <a:extLst>
              <a:ext uri="{FF2B5EF4-FFF2-40B4-BE49-F238E27FC236}">
                <a16:creationId xmlns:a16="http://schemas.microsoft.com/office/drawing/2014/main" id="{0B48FF3E-BBA2-F91D-DC4A-4680FF01C005}"/>
              </a:ext>
            </a:extLst>
          </p:cNvPr>
          <p:cNvSpPr/>
          <p:nvPr userDrawn="1"/>
        </p:nvSpPr>
        <p:spPr>
          <a:xfrm>
            <a:off x="0" y="0"/>
            <a:ext cx="12192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5" name="Fast overskrift">
            <a:extLst>
              <a:ext uri="{FF2B5EF4-FFF2-40B4-BE49-F238E27FC236}">
                <a16:creationId xmlns:a16="http://schemas.microsoft.com/office/drawing/2014/main" id="{9FA44876-B91C-FEBE-23A9-C5053F8D6EB8}"/>
              </a:ext>
            </a:extLst>
          </p:cNvPr>
          <p:cNvSpPr txBox="1"/>
          <p:nvPr userDrawn="1"/>
        </p:nvSpPr>
        <p:spPr>
          <a:xfrm>
            <a:off x="809384" y="1437824"/>
            <a:ext cx="6942137" cy="650171"/>
          </a:xfrm>
          <a:prstGeom prst="rect">
            <a:avLst/>
          </a:prstGeom>
          <a:noFill/>
        </p:spPr>
        <p:txBody>
          <a:bodyPr wrap="square" lIns="0" tIns="0" rIns="0" bIns="0" rtlCol="0" anchor="b" anchorCtr="0">
            <a:noAutofit/>
          </a:bodyPr>
          <a:lstStyle/>
          <a:p>
            <a:r>
              <a:rPr lang="da-DK" sz="4000" b="0" noProof="1">
                <a:solidFill>
                  <a:schemeClr val="accent1"/>
                </a:solidFill>
                <a:latin typeface="+mj-lt"/>
                <a:cs typeface="Calibri" panose="020F0502020204030204" pitchFamily="34" charset="0"/>
              </a:rPr>
              <a:t>TIPS TIL POWERPOINT (SLETTES)</a:t>
            </a:r>
          </a:p>
        </p:txBody>
      </p:sp>
      <p:sp>
        <p:nvSpPr>
          <p:cNvPr id="7" name="Tekstfelt 6">
            <a:extLst>
              <a:ext uri="{FF2B5EF4-FFF2-40B4-BE49-F238E27FC236}">
                <a16:creationId xmlns:a16="http://schemas.microsoft.com/office/drawing/2014/main" id="{03268F6B-C186-A09F-0E7F-C9E74B1390F5}"/>
              </a:ext>
            </a:extLst>
          </p:cNvPr>
          <p:cNvSpPr txBox="1"/>
          <p:nvPr userDrawn="1"/>
        </p:nvSpPr>
        <p:spPr>
          <a:xfrm>
            <a:off x="5062604" y="2931333"/>
            <a:ext cx="2052084" cy="769441"/>
          </a:xfrm>
          <a:prstGeom prst="rect">
            <a:avLst/>
          </a:prstGeom>
          <a:noFill/>
        </p:spPr>
        <p:txBody>
          <a:bodyPr wrap="square" lIns="0" tIns="0" rIns="0" bIns="0" rtlCol="0">
            <a:spAutoFit/>
          </a:bodyPr>
          <a:lstStyle/>
          <a:p>
            <a:pPr algn="l"/>
            <a:r>
              <a:rPr lang="da-DK" sz="2500" dirty="0">
                <a:solidFill>
                  <a:schemeClr val="bg1">
                    <a:lumMod val="50000"/>
                  </a:schemeClr>
                </a:solidFill>
                <a:latin typeface="+mj-lt"/>
              </a:rPr>
              <a:t>SKIFTE FARVE PÅ IKONER</a:t>
            </a:r>
          </a:p>
        </p:txBody>
      </p:sp>
      <p:sp>
        <p:nvSpPr>
          <p:cNvPr id="9" name="Tekstfelt 8">
            <a:extLst>
              <a:ext uri="{FF2B5EF4-FFF2-40B4-BE49-F238E27FC236}">
                <a16:creationId xmlns:a16="http://schemas.microsoft.com/office/drawing/2014/main" id="{FD3A627A-04F0-8831-2283-CA5B37B815C9}"/>
              </a:ext>
            </a:extLst>
          </p:cNvPr>
          <p:cNvSpPr txBox="1"/>
          <p:nvPr userDrawn="1"/>
        </p:nvSpPr>
        <p:spPr>
          <a:xfrm>
            <a:off x="8202094" y="2931332"/>
            <a:ext cx="3007244" cy="769441"/>
          </a:xfrm>
          <a:prstGeom prst="rect">
            <a:avLst/>
          </a:prstGeom>
          <a:noFill/>
        </p:spPr>
        <p:txBody>
          <a:bodyPr wrap="square" lIns="0" tIns="0" rIns="0" bIns="0" rtlCol="0">
            <a:spAutoFit/>
          </a:bodyPr>
          <a:lstStyle/>
          <a:p>
            <a:pPr algn="l"/>
            <a:r>
              <a:rPr lang="da-DK" sz="2500" kern="1200" dirty="0">
                <a:solidFill>
                  <a:schemeClr val="bg1">
                    <a:lumMod val="50000"/>
                  </a:schemeClr>
                </a:solidFill>
                <a:latin typeface="+mj-lt"/>
                <a:ea typeface="+mn-ea"/>
                <a:cs typeface="+mn-cs"/>
              </a:rPr>
              <a:t>REDUCER STØRRELSEN PÅ PRÆSENTATION </a:t>
            </a:r>
          </a:p>
        </p:txBody>
      </p:sp>
      <p:sp>
        <p:nvSpPr>
          <p:cNvPr id="13" name="Tekstfelt 12">
            <a:extLst>
              <a:ext uri="{FF2B5EF4-FFF2-40B4-BE49-F238E27FC236}">
                <a16:creationId xmlns:a16="http://schemas.microsoft.com/office/drawing/2014/main" id="{795C463A-6CE6-F7AA-9492-42431FF11F7A}"/>
              </a:ext>
            </a:extLst>
          </p:cNvPr>
          <p:cNvSpPr txBox="1"/>
          <p:nvPr userDrawn="1"/>
        </p:nvSpPr>
        <p:spPr>
          <a:xfrm>
            <a:off x="730872" y="2883199"/>
            <a:ext cx="2820711"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500" kern="1200" dirty="0">
                <a:solidFill>
                  <a:schemeClr val="bg1">
                    <a:lumMod val="50000"/>
                  </a:schemeClr>
                </a:solidFill>
                <a:latin typeface="+mj-lt"/>
                <a:ea typeface="+mn-ea"/>
                <a:cs typeface="+mn-cs"/>
              </a:rPr>
              <a:t>FIND BILLEDER OG IKONER I CUMULUS</a:t>
            </a:r>
          </a:p>
          <a:p>
            <a:endParaRPr lang="da-DK" dirty="0"/>
          </a:p>
        </p:txBody>
      </p:sp>
      <p:sp>
        <p:nvSpPr>
          <p:cNvPr id="16" name="Tekstfelt 15">
            <a:extLst>
              <a:ext uri="{FF2B5EF4-FFF2-40B4-BE49-F238E27FC236}">
                <a16:creationId xmlns:a16="http://schemas.microsoft.com/office/drawing/2014/main" id="{15013CAA-AC50-D2E5-B829-534B6CCC53C6}"/>
              </a:ext>
            </a:extLst>
          </p:cNvPr>
          <p:cNvSpPr txBox="1"/>
          <p:nvPr userDrawn="1"/>
        </p:nvSpPr>
        <p:spPr>
          <a:xfrm>
            <a:off x="730872" y="3784832"/>
            <a:ext cx="3536045" cy="1246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500" kern="1200" dirty="0">
                <a:solidFill>
                  <a:schemeClr val="bg1">
                    <a:lumMod val="50000"/>
                  </a:schemeClr>
                </a:solidFill>
                <a:latin typeface="+mj-lt"/>
                <a:ea typeface="+mn-ea"/>
                <a:cs typeface="+mn-cs"/>
              </a:rPr>
              <a:t>Find </a:t>
            </a:r>
            <a:r>
              <a:rPr lang="da-DK" sz="1500" kern="1200" dirty="0" err="1">
                <a:solidFill>
                  <a:schemeClr val="bg1">
                    <a:lumMod val="50000"/>
                  </a:schemeClr>
                </a:solidFill>
                <a:latin typeface="+mj-lt"/>
                <a:ea typeface="+mn-ea"/>
                <a:cs typeface="+mn-cs"/>
              </a:rPr>
              <a:t>Cumulus</a:t>
            </a:r>
            <a:r>
              <a:rPr lang="da-DK" sz="1500" kern="1200" dirty="0">
                <a:solidFill>
                  <a:schemeClr val="bg1">
                    <a:lumMod val="50000"/>
                  </a:schemeClr>
                </a:solidFill>
                <a:latin typeface="+mj-lt"/>
                <a:ea typeface="+mn-ea"/>
                <a:cs typeface="+mn-cs"/>
              </a:rPr>
              <a:t> via </a:t>
            </a:r>
            <a:r>
              <a:rPr lang="da-DK" sz="1500" kern="1200" dirty="0" err="1">
                <a:solidFill>
                  <a:schemeClr val="bg1">
                    <a:lumMod val="50000"/>
                  </a:schemeClr>
                </a:solidFill>
                <a:latin typeface="+mj-lt"/>
                <a:ea typeface="+mn-ea"/>
                <a:cs typeface="+mn-cs"/>
              </a:rPr>
              <a:t>InSite</a:t>
            </a:r>
            <a:r>
              <a:rPr lang="da-DK" sz="1500" kern="1200" dirty="0">
                <a:solidFill>
                  <a:schemeClr val="bg1">
                    <a:lumMod val="50000"/>
                  </a:schemeClr>
                </a:solidFill>
                <a:latin typeface="+mj-lt"/>
                <a:ea typeface="+mn-ea"/>
                <a:cs typeface="+mn-cs"/>
              </a:rPr>
              <a:t>/Adgang til system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500" kern="1200" dirty="0">
                <a:solidFill>
                  <a:schemeClr val="bg1">
                    <a:lumMod val="50000"/>
                  </a:schemeClr>
                </a:solidFill>
                <a:latin typeface="+mj-lt"/>
                <a:ea typeface="+mn-ea"/>
                <a:cs typeface="+mn-cs"/>
              </a:rPr>
              <a:t>eller under værktøjer/kommunik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500"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500" kern="1200" dirty="0">
                <a:solidFill>
                  <a:schemeClr val="bg1">
                    <a:lumMod val="50000"/>
                  </a:schemeClr>
                </a:solidFill>
                <a:latin typeface="+mj-lt"/>
                <a:ea typeface="+mn-ea"/>
                <a:cs typeface="+mn-cs"/>
              </a:rPr>
              <a:t>Vælg originalfilen for bedste kvalitet og undgå baggrund på ikoner</a:t>
            </a:r>
            <a:endParaRPr lang="da-DK" sz="1500" dirty="0">
              <a:solidFill>
                <a:schemeClr val="bg1">
                  <a:lumMod val="50000"/>
                </a:schemeClr>
              </a:solidFill>
            </a:endParaRPr>
          </a:p>
        </p:txBody>
      </p:sp>
      <p:cxnSp>
        <p:nvCxnSpPr>
          <p:cNvPr id="19" name="Lige forbindelse 18">
            <a:extLst>
              <a:ext uri="{FF2B5EF4-FFF2-40B4-BE49-F238E27FC236}">
                <a16:creationId xmlns:a16="http://schemas.microsoft.com/office/drawing/2014/main" id="{4A23E6CC-AE46-DE38-11FD-3C0022A12775}"/>
              </a:ext>
            </a:extLst>
          </p:cNvPr>
          <p:cNvCxnSpPr>
            <a:cxnSpLocks/>
          </p:cNvCxnSpPr>
          <p:nvPr userDrawn="1"/>
        </p:nvCxnSpPr>
        <p:spPr>
          <a:xfrm>
            <a:off x="7911548" y="2517913"/>
            <a:ext cx="0" cy="3220278"/>
          </a:xfrm>
          <a:prstGeom prst="line">
            <a:avLst/>
          </a:prstGeom>
        </p:spPr>
        <p:style>
          <a:lnRef idx="2">
            <a:schemeClr val="accent1"/>
          </a:lnRef>
          <a:fillRef idx="0">
            <a:schemeClr val="accent1"/>
          </a:fillRef>
          <a:effectRef idx="1">
            <a:schemeClr val="accent1"/>
          </a:effectRef>
          <a:fontRef idx="minor">
            <a:schemeClr val="tx1"/>
          </a:fontRef>
        </p:style>
      </p:cxnSp>
      <p:sp>
        <p:nvSpPr>
          <p:cNvPr id="24" name="Tekstfelt 23">
            <a:extLst>
              <a:ext uri="{FF2B5EF4-FFF2-40B4-BE49-F238E27FC236}">
                <a16:creationId xmlns:a16="http://schemas.microsoft.com/office/drawing/2014/main" id="{E3587E90-DA9E-E96E-ABB7-E510CB2B5C7E}"/>
              </a:ext>
            </a:extLst>
          </p:cNvPr>
          <p:cNvSpPr txBox="1"/>
          <p:nvPr userDrawn="1"/>
        </p:nvSpPr>
        <p:spPr>
          <a:xfrm>
            <a:off x="4996344" y="3784832"/>
            <a:ext cx="2809181"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500" kern="1200" dirty="0">
                <a:solidFill>
                  <a:schemeClr val="bg1">
                    <a:lumMod val="50000"/>
                  </a:schemeClr>
                </a:solidFill>
                <a:latin typeface="+mj-lt"/>
                <a:ea typeface="+mn-ea"/>
                <a:cs typeface="+mn-cs"/>
              </a:rPr>
              <a:t>Klik på et billede, gå i fanen ”Billedformatering” og klik på ”Farve”</a:t>
            </a:r>
            <a:endParaRPr lang="da-DK" sz="1500" dirty="0"/>
          </a:p>
        </p:txBody>
      </p:sp>
      <p:sp>
        <p:nvSpPr>
          <p:cNvPr id="27" name="Tekstfelt 26">
            <a:extLst>
              <a:ext uri="{FF2B5EF4-FFF2-40B4-BE49-F238E27FC236}">
                <a16:creationId xmlns:a16="http://schemas.microsoft.com/office/drawing/2014/main" id="{9B52B3E9-08A7-6C72-4253-6042873244FE}"/>
              </a:ext>
            </a:extLst>
          </p:cNvPr>
          <p:cNvSpPr txBox="1"/>
          <p:nvPr userDrawn="1"/>
        </p:nvSpPr>
        <p:spPr>
          <a:xfrm>
            <a:off x="8203370" y="3784832"/>
            <a:ext cx="35692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500" kern="1200" dirty="0">
                <a:solidFill>
                  <a:schemeClr val="bg1">
                    <a:lumMod val="50000"/>
                  </a:schemeClr>
                </a:solidFill>
                <a:latin typeface="+mj-lt"/>
                <a:ea typeface="+mn-ea"/>
                <a:cs typeface="+mn-cs"/>
              </a:rPr>
              <a:t>Klik på et billede, gå i fanen ”Billedformatering” og klik på ”Komprimer billeder” vælg derefter ”Alle billeder i denne fil”</a:t>
            </a:r>
            <a:endParaRPr lang="da-DK" sz="1500" dirty="0"/>
          </a:p>
        </p:txBody>
      </p:sp>
      <p:pic>
        <p:nvPicPr>
          <p:cNvPr id="30" name="Billede 29">
            <a:extLst>
              <a:ext uri="{FF2B5EF4-FFF2-40B4-BE49-F238E27FC236}">
                <a16:creationId xmlns:a16="http://schemas.microsoft.com/office/drawing/2014/main" id="{B1437132-12D8-5937-366D-8C5A68C1A1E8}"/>
              </a:ext>
            </a:extLst>
          </p:cNvPr>
          <p:cNvPicPr>
            <a:picLocks noChangeAspect="1"/>
          </p:cNvPicPr>
          <p:nvPr userDrawn="1"/>
        </p:nvPicPr>
        <p:blipFill>
          <a:blip r:embed="rId2"/>
          <a:stretch>
            <a:fillRect/>
          </a:stretch>
        </p:blipFill>
        <p:spPr>
          <a:xfrm>
            <a:off x="8133309" y="4738984"/>
            <a:ext cx="927650" cy="761999"/>
          </a:xfrm>
          <a:prstGeom prst="rect">
            <a:avLst/>
          </a:prstGeom>
        </p:spPr>
      </p:pic>
      <p:pic>
        <p:nvPicPr>
          <p:cNvPr id="32" name="Billede 31" descr="Et billede, der indeholder diagram, Elektrisk blå, linje/række, Font/skrifttype&#10;&#10;Automatisk genereret beskrivelse">
            <a:extLst>
              <a:ext uri="{FF2B5EF4-FFF2-40B4-BE49-F238E27FC236}">
                <a16:creationId xmlns:a16="http://schemas.microsoft.com/office/drawing/2014/main" id="{A74A0C20-1293-00A3-4C18-F68837623A89}"/>
              </a:ext>
            </a:extLst>
          </p:cNvPr>
          <p:cNvPicPr>
            <a:picLocks noChangeAspect="1"/>
          </p:cNvPicPr>
          <p:nvPr userDrawn="1"/>
        </p:nvPicPr>
        <p:blipFill>
          <a:blip r:embed="rId3"/>
          <a:stretch>
            <a:fillRect/>
          </a:stretch>
        </p:blipFill>
        <p:spPr>
          <a:xfrm>
            <a:off x="5081704" y="4779328"/>
            <a:ext cx="698500" cy="762000"/>
          </a:xfrm>
          <a:prstGeom prst="rect">
            <a:avLst/>
          </a:prstGeom>
        </p:spPr>
      </p:pic>
      <p:cxnSp>
        <p:nvCxnSpPr>
          <p:cNvPr id="36" name="Lige forbindelse 35">
            <a:extLst>
              <a:ext uri="{FF2B5EF4-FFF2-40B4-BE49-F238E27FC236}">
                <a16:creationId xmlns:a16="http://schemas.microsoft.com/office/drawing/2014/main" id="{B1326B52-0911-82C4-E15E-D928BA5306CE}"/>
              </a:ext>
            </a:extLst>
          </p:cNvPr>
          <p:cNvCxnSpPr>
            <a:cxnSpLocks/>
          </p:cNvCxnSpPr>
          <p:nvPr userDrawn="1"/>
        </p:nvCxnSpPr>
        <p:spPr>
          <a:xfrm>
            <a:off x="4558748" y="2517913"/>
            <a:ext cx="0" cy="3220278"/>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63427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dsholder til slidenummer 36">
            <a:extLst>
              <a:ext uri="{FF2B5EF4-FFF2-40B4-BE49-F238E27FC236}">
                <a16:creationId xmlns:a16="http://schemas.microsoft.com/office/drawing/2014/main" id="{72B6E7FA-3EFC-596C-838B-7B0682DFA6CF}"/>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3" name="Pladsholder til sidefod 37">
            <a:extLst>
              <a:ext uri="{FF2B5EF4-FFF2-40B4-BE49-F238E27FC236}">
                <a16:creationId xmlns:a16="http://schemas.microsoft.com/office/drawing/2014/main" id="{01C9B88F-D58F-8E70-3444-B376D60E5CF2}"/>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pic>
        <p:nvPicPr>
          <p:cNvPr id="4" name="Logo">
            <a:extLst>
              <a:ext uri="{FF2B5EF4-FFF2-40B4-BE49-F238E27FC236}">
                <a16:creationId xmlns:a16="http://schemas.microsoft.com/office/drawing/2014/main" id="{B48C96E5-03AF-5DA9-881E-D7C0DD152B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49"/>
            <a:ext cx="1433231" cy="173615"/>
          </a:xfrm>
          <a:prstGeom prst="rect">
            <a:avLst/>
          </a:prstGeom>
        </p:spPr>
      </p:pic>
    </p:spTree>
    <p:extLst>
      <p:ext uri="{BB962C8B-B14F-4D97-AF65-F5344CB8AC3E}">
        <p14:creationId xmlns:p14="http://schemas.microsoft.com/office/powerpoint/2010/main" val="28513606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rtlCol="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gb"/>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rtlCol="0"/>
          <a:lstStyle>
            <a:lvl1pPr>
              <a:defRPr sz="100">
                <a:noFill/>
              </a:defRPr>
            </a:lvl1pPr>
          </a:lstStyle>
          <a:p>
            <a:pPr rtl="0"/>
            <a:fld id="{47D8469C-208F-48FF-9646-1FB94DEF7C9E}" type="datetime1">
              <a:rPr lang="da-DK" smtClean="0"/>
              <a:t>13-10-2025</a:t>
            </a:fld>
            <a:endParaRPr lang="da-DK"/>
          </a:p>
        </p:txBody>
      </p:sp>
      <p:sp>
        <p:nvSpPr>
          <p:cNvPr id="10" name="FLD_PresentationTitle"/>
          <p:cNvSpPr>
            <a:spLocks noGrp="1"/>
          </p:cNvSpPr>
          <p:nvPr>
            <p:ph type="ftr" sz="quarter" idx="11"/>
          </p:nvPr>
        </p:nvSpPr>
        <p:spPr>
          <a:xfrm>
            <a:off x="0" y="6912000"/>
            <a:ext cx="0" cy="0"/>
          </a:xfrm>
        </p:spPr>
        <p:txBody>
          <a:bodyPr rtlCol="0"/>
          <a:lstStyle>
            <a:lvl1pPr>
              <a:defRPr sz="100">
                <a:noFill/>
              </a:defRPr>
            </a:lvl1pPr>
          </a:lstStyle>
          <a:p>
            <a:pPr rtl="0"/>
            <a:endParaRPr lang="da-DK"/>
          </a:p>
        </p:txBody>
      </p:sp>
      <p:sp>
        <p:nvSpPr>
          <p:cNvPr id="11" name="Slide Number Placeholder 5" hidden="1"/>
          <p:cNvSpPr>
            <a:spLocks noGrp="1"/>
          </p:cNvSpPr>
          <p:nvPr>
            <p:ph type="sldNum" sz="quarter" idx="12"/>
          </p:nvPr>
        </p:nvSpPr>
        <p:spPr>
          <a:xfrm>
            <a:off x="0" y="6912000"/>
            <a:ext cx="0" cy="0"/>
          </a:xfrm>
        </p:spPr>
        <p:txBody>
          <a:bodyPr rtlCol="0"/>
          <a:lstStyle>
            <a:lvl1pPr>
              <a:defRPr>
                <a:noFill/>
              </a:defRPr>
            </a:lvl1pPr>
          </a:lstStyle>
          <a:p>
            <a:pPr rtl="0"/>
            <a:fld id="{24C8C45C-947F-4981-8B3F-4F32E973C901}" type="slidenum">
              <a:rPr lang="da-DK" smtClean="0"/>
              <a:pPr rtl="0"/>
              <a:t>‹nr.›</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rtlCol="0"/>
          <a:lstStyle>
            <a:lvl1pPr>
              <a:defRPr>
                <a:solidFill>
                  <a:schemeClr val="accent1"/>
                </a:solidFill>
              </a:defRPr>
            </a:lvl1pPr>
          </a:lstStyle>
          <a:p>
            <a:pPr rtl="0"/>
            <a:r>
              <a:rPr lang="en-gb"/>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rtlCol="0"/>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rtl="0"/>
            <a:r>
              <a:rPr lang="en-gb"/>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rtlCol="0" anchor="b"/>
          <a:lstStyle>
            <a:lvl1pPr algn="l">
              <a:defRPr>
                <a:solidFill>
                  <a:schemeClr val="bg1"/>
                </a:solidFill>
              </a:defRPr>
            </a:lvl1pPr>
          </a:lstStyle>
          <a:p>
            <a:pPr rtl="0"/>
            <a:r>
              <a:rPr lang="en-gb"/>
              <a:t>Indsæt overskrift</a:t>
            </a:r>
          </a:p>
        </p:txBody>
      </p:sp>
    </p:spTree>
    <p:extLst>
      <p:ext uri="{BB962C8B-B14F-4D97-AF65-F5344CB8AC3E}">
        <p14:creationId xmlns:p14="http://schemas.microsoft.com/office/powerpoint/2010/main" val="40534886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rtlCol="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gb"/>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rtlCol="0"/>
          <a:lstStyle>
            <a:lvl1pPr>
              <a:defRPr sz="100">
                <a:noFill/>
              </a:defRPr>
            </a:lvl1pPr>
          </a:lstStyle>
          <a:p>
            <a:pPr rtl="0"/>
            <a:fld id="{B3B61CD3-B4C0-406C-8B45-77057280F1A2}" type="datetime1">
              <a:rPr lang="da-DK" smtClean="0"/>
              <a:t>13-10-2025</a:t>
            </a:fld>
            <a:endParaRPr lang="da-DK"/>
          </a:p>
        </p:txBody>
      </p:sp>
      <p:sp>
        <p:nvSpPr>
          <p:cNvPr id="10" name="FLD_PresentationTitle"/>
          <p:cNvSpPr>
            <a:spLocks noGrp="1"/>
          </p:cNvSpPr>
          <p:nvPr>
            <p:ph type="ftr" sz="quarter" idx="11"/>
          </p:nvPr>
        </p:nvSpPr>
        <p:spPr>
          <a:xfrm>
            <a:off x="0" y="6912000"/>
            <a:ext cx="0" cy="0"/>
          </a:xfrm>
        </p:spPr>
        <p:txBody>
          <a:bodyPr rtlCol="0"/>
          <a:lstStyle>
            <a:lvl1pPr>
              <a:defRPr sz="100">
                <a:noFill/>
              </a:defRPr>
            </a:lvl1pPr>
          </a:lstStyle>
          <a:p>
            <a:pPr rtl="0"/>
            <a:endParaRPr lang="da-DK"/>
          </a:p>
        </p:txBody>
      </p:sp>
      <p:sp>
        <p:nvSpPr>
          <p:cNvPr id="11" name="Slide Number Placeholder 5" hidden="1"/>
          <p:cNvSpPr>
            <a:spLocks noGrp="1"/>
          </p:cNvSpPr>
          <p:nvPr>
            <p:ph type="sldNum" sz="quarter" idx="12"/>
          </p:nvPr>
        </p:nvSpPr>
        <p:spPr>
          <a:xfrm>
            <a:off x="0" y="6912000"/>
            <a:ext cx="0" cy="0"/>
          </a:xfrm>
        </p:spPr>
        <p:txBody>
          <a:bodyPr rtlCol="0"/>
          <a:lstStyle>
            <a:lvl1pPr>
              <a:defRPr>
                <a:noFill/>
              </a:defRPr>
            </a:lvl1pPr>
          </a:lstStyle>
          <a:p>
            <a:pPr rtl="0"/>
            <a:fld id="{24C8C45C-947F-4981-8B3F-4F32E973C901}" type="slidenum">
              <a:rPr lang="da-DK" smtClean="0"/>
              <a:pPr rtl="0"/>
              <a:t>‹nr.›</a:t>
            </a:fld>
            <a:endParaRPr lang="da-DK"/>
          </a:p>
        </p:txBody>
      </p:sp>
    </p:spTree>
    <p:extLst>
      <p:ext uri="{BB962C8B-B14F-4D97-AF65-F5344CB8AC3E}">
        <p14:creationId xmlns:p14="http://schemas.microsoft.com/office/powerpoint/2010/main" val="539221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Bef>
                <a:spcPts val="750"/>
              </a:spcBef>
            </a:pPr>
            <a:endParaRPr lang="da-DK" sz="2000" noProof="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rtlCol="0"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rtl="0"/>
            <a:r>
              <a:rPr lang="en-gb"/>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rtlCol="0" anchor="ctr"/>
          <a:lstStyle>
            <a:lvl1pPr algn="ctr">
              <a:defRPr>
                <a:solidFill>
                  <a:schemeClr val="bg1"/>
                </a:solidFill>
              </a:defRPr>
            </a:lvl1pPr>
          </a:lstStyle>
          <a:p>
            <a:pPr rtl="0"/>
            <a:r>
              <a:rPr lang="en-gb"/>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rtlCol="0"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rtl="0"/>
            <a:r>
              <a:rPr lang="en-gb"/>
              <a:t>Indsæt evt. kort understøttende tekst</a:t>
            </a:r>
          </a:p>
        </p:txBody>
      </p:sp>
    </p:spTree>
    <p:extLst>
      <p:ext uri="{BB962C8B-B14F-4D97-AF65-F5344CB8AC3E}">
        <p14:creationId xmlns:p14="http://schemas.microsoft.com/office/powerpoint/2010/main" val="8009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baseline="0"/>
            </a:lvl1pPr>
          </a:lstStyle>
          <a:p>
            <a:pPr rtl="0"/>
            <a:r>
              <a:rPr lang="en-gb"/>
              <a:t>Indsæt overskrift</a:t>
            </a:r>
          </a:p>
        </p:txBody>
      </p:sp>
      <p:sp>
        <p:nvSpPr>
          <p:cNvPr id="3" name="Content Placeholder 2"/>
          <p:cNvSpPr>
            <a:spLocks noGrp="1"/>
          </p:cNvSpPr>
          <p:nvPr>
            <p:ph idx="1" hasCustomPrompt="1"/>
          </p:nvPr>
        </p:nvSpPr>
        <p:spPr>
          <a:xfrm>
            <a:off x="982664" y="2852738"/>
            <a:ext cx="10226674" cy="3303587"/>
          </a:xfrm>
        </p:spPr>
        <p:txBody>
          <a:bodyPr rtlCol="0"/>
          <a:lstStyle>
            <a:lvl1pPr>
              <a:defRPr/>
            </a:lvl1pPr>
          </a:lstStyle>
          <a:p>
            <a:pPr lvl="0" rtl="0"/>
            <a:r>
              <a:rPr lang="en-gb"/>
              <a:t>Klik for at indsætte brødtekst</a:t>
            </a:r>
          </a:p>
          <a:p>
            <a:pPr lvl="1" rtl="0"/>
            <a:r>
              <a:rPr lang="en-gb"/>
              <a:t>Second level</a:t>
            </a:r>
            <a:endParaRPr lang="da-DK"/>
          </a:p>
          <a:p>
            <a:pPr lvl="2" rtl="0"/>
            <a:r>
              <a:rPr lang="en-gb"/>
              <a:t>Third level</a:t>
            </a:r>
            <a:endParaRPr lang="da-DK"/>
          </a:p>
          <a:p>
            <a:pPr lvl="3" rtl="0"/>
            <a:r>
              <a:rPr lang="en-gb"/>
              <a:t>Fourth level</a:t>
            </a:r>
            <a:endParaRPr lang="da-DK"/>
          </a:p>
          <a:p>
            <a:pPr lvl="4" rtl="0"/>
            <a:r>
              <a:rPr lang="en-gb"/>
              <a:t>Fifth level</a:t>
            </a:r>
            <a:endParaRPr lang="da-DK"/>
          </a:p>
        </p:txBody>
      </p:sp>
      <p:sp>
        <p:nvSpPr>
          <p:cNvPr id="4" name="Date_DateCustomA"/>
          <p:cNvSpPr>
            <a:spLocks noGrp="1"/>
          </p:cNvSpPr>
          <p:nvPr>
            <p:ph type="dt" sz="half" idx="10"/>
          </p:nvPr>
        </p:nvSpPr>
        <p:spPr/>
        <p:txBody>
          <a:bodyPr rtlCol="0"/>
          <a:lstStyle/>
          <a:p>
            <a:pPr rtl="0"/>
            <a:fld id="{5A4ADCA1-DA0C-4C3D-976B-FC5295A4F8DA}" type="datetime1">
              <a:rPr lang="da-DK" smtClean="0"/>
              <a:t>13-10-2025</a:t>
            </a:fld>
            <a:endParaRPr lang="da-DK"/>
          </a:p>
        </p:txBody>
      </p:sp>
      <p:sp>
        <p:nvSpPr>
          <p:cNvPr id="5" name="FLD_PresentationTitle"/>
          <p:cNvSpPr>
            <a:spLocks noGrp="1"/>
          </p:cNvSpPr>
          <p:nvPr>
            <p:ph type="ftr" sz="quarter" idx="11"/>
          </p:nvPr>
        </p:nvSpPr>
        <p:spPr/>
        <p:txBody>
          <a:bodyPr rtlCol="0"/>
          <a:lstStyle/>
          <a:p>
            <a:pPr rtl="0"/>
            <a:endParaRPr lang="da-DK"/>
          </a:p>
        </p:txBody>
      </p:sp>
      <p:sp>
        <p:nvSpPr>
          <p:cNvPr id="6" name="Slide Number Placeholder 5"/>
          <p:cNvSpPr>
            <a:spLocks noGrp="1"/>
          </p:cNvSpPr>
          <p:nvPr>
            <p:ph type="sldNum" sz="quarter" idx="12"/>
          </p:nvPr>
        </p:nvSpPr>
        <p:spPr/>
        <p:txBody>
          <a:bodyPr rtlCol="0"/>
          <a:lstStyle/>
          <a:p>
            <a:pPr rtl="0"/>
            <a:fld id="{24C8C45C-947F-4981-8B3F-4F32E973C901}" type="slidenum">
              <a:rPr lang="da-DK" smtClean="0"/>
              <a:t>‹nr.›</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rtlCol="0"/>
          <a:lstStyle>
            <a:lvl1pPr>
              <a:defRPr sz="2200">
                <a:solidFill>
                  <a:schemeClr val="accent1"/>
                </a:solidFill>
              </a:defRPr>
            </a:lvl1pPr>
          </a:lstStyle>
          <a:p>
            <a:pPr lvl="0" rtl="0"/>
            <a:r>
              <a:rPr lang="en-gb"/>
              <a:t>Indsæt underoverskrift eller indledning</a:t>
            </a:r>
          </a:p>
        </p:txBody>
      </p:sp>
    </p:spTree>
    <p:extLst>
      <p:ext uri="{BB962C8B-B14F-4D97-AF65-F5344CB8AC3E}">
        <p14:creationId xmlns:p14="http://schemas.microsoft.com/office/powerpoint/2010/main" val="17628024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CC4759-3C00-3CFD-82FA-614F8449BC78}"/>
              </a:ext>
            </a:extLst>
          </p:cNvPr>
          <p:cNvSpPr>
            <a:spLocks noGrp="1"/>
          </p:cNvSpPr>
          <p:nvPr>
            <p:ph type="title" hasCustomPrompt="1"/>
          </p:nvPr>
        </p:nvSpPr>
        <p:spPr>
          <a:xfrm>
            <a:off x="982662" y="1181100"/>
            <a:ext cx="10181867" cy="735013"/>
          </a:xfrm>
        </p:spPr>
        <p:txBody>
          <a:bodyPr>
            <a:noAutofit/>
          </a:bodyPr>
          <a:lstStyle>
            <a:lvl1pPr>
              <a:defRPr/>
            </a:lvl1pPr>
          </a:lstStyle>
          <a:p>
            <a:r>
              <a:rPr lang="da-DK" dirty="0"/>
              <a:t>Indsæt overskrift</a:t>
            </a:r>
          </a:p>
        </p:txBody>
      </p:sp>
      <p:sp>
        <p:nvSpPr>
          <p:cNvPr id="5" name="Pladsholder til tekst 28">
            <a:extLst>
              <a:ext uri="{FF2B5EF4-FFF2-40B4-BE49-F238E27FC236}">
                <a16:creationId xmlns:a16="http://schemas.microsoft.com/office/drawing/2014/main" id="{2DE37D0C-4CEE-8552-BA35-0816F1E72A1F}"/>
              </a:ext>
            </a:extLst>
          </p:cNvPr>
          <p:cNvSpPr>
            <a:spLocks noGrp="1"/>
          </p:cNvSpPr>
          <p:nvPr>
            <p:ph idx="1"/>
          </p:nvPr>
        </p:nvSpPr>
        <p:spPr>
          <a:xfrm>
            <a:off x="982662" y="2540604"/>
            <a:ext cx="10181867" cy="3557898"/>
          </a:xfrm>
          <a:prstGeom prst="rect">
            <a:avLst/>
          </a:prstGeom>
        </p:spPr>
        <p:txBody>
          <a:bodyPr vert="horz" lIns="91440" tIns="45720" rIns="91440" bIns="45720" rtlCol="0">
            <a:noAutofit/>
          </a:bodyPr>
          <a:lstStyle>
            <a:lvl1pPr>
              <a:lnSpc>
                <a:spcPts val="2200"/>
              </a:lnSpc>
              <a:defRPr baseline="0"/>
            </a:lvl1pPr>
            <a:lvl2pPr>
              <a:lnSpc>
                <a:spcPts val="2000"/>
              </a:lnSpc>
              <a:defRPr baseline="0"/>
            </a:lvl2pPr>
            <a:lvl3pPr>
              <a:lnSpc>
                <a:spcPts val="1800"/>
              </a:lnSpc>
              <a:defRPr baseline="0"/>
            </a:lvl3pPr>
            <a:lvl4pPr>
              <a:lnSpc>
                <a:spcPts val="1900"/>
              </a:lnSpc>
              <a:defRPr baseline="0"/>
            </a:lvl4pPr>
            <a:lvl5pPr>
              <a:lnSpc>
                <a:spcPts val="1900"/>
              </a:lnSpc>
              <a:defRPr baseline="0"/>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6">
            <a:extLst>
              <a:ext uri="{FF2B5EF4-FFF2-40B4-BE49-F238E27FC236}">
                <a16:creationId xmlns:a16="http://schemas.microsoft.com/office/drawing/2014/main" id="{BEEEB279-E201-6496-9ED0-F894C48B31FA}"/>
              </a:ext>
            </a:extLst>
          </p:cNvPr>
          <p:cNvSpPr>
            <a:spLocks noGrp="1"/>
          </p:cNvSpPr>
          <p:nvPr>
            <p:ph type="body" sz="quarter" idx="12" hasCustomPrompt="1"/>
          </p:nvPr>
        </p:nvSpPr>
        <p:spPr>
          <a:xfrm>
            <a:off x="982662" y="1926999"/>
            <a:ext cx="10182443" cy="584200"/>
          </a:xfrm>
        </p:spPr>
        <p:txBody>
          <a:bodyPr>
            <a:noAutofit/>
          </a:bodyPr>
          <a:lstStyle>
            <a:lvl1pPr>
              <a:defRPr sz="2200">
                <a:solidFill>
                  <a:schemeClr val="accent1"/>
                </a:solidFill>
              </a:defRPr>
            </a:lvl1pPr>
          </a:lstStyle>
          <a:p>
            <a:pPr lvl="0"/>
            <a:r>
              <a:rPr lang="da-DK" dirty="0"/>
              <a:t>Indsæt underoverskift</a:t>
            </a:r>
          </a:p>
        </p:txBody>
      </p:sp>
      <p:sp>
        <p:nvSpPr>
          <p:cNvPr id="4" name="Pladsholder til slidenummer 36">
            <a:extLst>
              <a:ext uri="{FF2B5EF4-FFF2-40B4-BE49-F238E27FC236}">
                <a16:creationId xmlns:a16="http://schemas.microsoft.com/office/drawing/2014/main" id="{2168B85D-7BBE-7934-4884-19632FC349A6}"/>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5"/>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8" name="Pladsholder til sidefod 37">
            <a:extLst>
              <a:ext uri="{FF2B5EF4-FFF2-40B4-BE49-F238E27FC236}">
                <a16:creationId xmlns:a16="http://schemas.microsoft.com/office/drawing/2014/main" id="{8655C8F9-6D2E-6643-2975-5850E0CDD706}"/>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bg1">
                    <a:lumMod val="5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spTree>
    <p:extLst>
      <p:ext uri="{BB962C8B-B14F-4D97-AF65-F5344CB8AC3E}">
        <p14:creationId xmlns:p14="http://schemas.microsoft.com/office/powerpoint/2010/main" val="26850768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 element">
    <p:spTree>
      <p:nvGrpSpPr>
        <p:cNvPr id="1" name=""/>
        <p:cNvGrpSpPr/>
        <p:nvPr/>
      </p:nvGrpSpPr>
      <p:grpSpPr>
        <a:xfrm>
          <a:off x="0" y="0"/>
          <a:ext cx="0" cy="0"/>
          <a:chOff x="0" y="0"/>
          <a:chExt cx="0" cy="0"/>
        </a:xfrm>
      </p:grpSpPr>
      <p:sp>
        <p:nvSpPr>
          <p:cNvPr id="7" name="Pladsholder til tekst 6">
            <a:extLst>
              <a:ext uri="{FF2B5EF4-FFF2-40B4-BE49-F238E27FC236}">
                <a16:creationId xmlns:a16="http://schemas.microsoft.com/office/drawing/2014/main" id="{BEEEB279-E201-6496-9ED0-F894C48B31FA}"/>
              </a:ext>
            </a:extLst>
          </p:cNvPr>
          <p:cNvSpPr>
            <a:spLocks noGrp="1"/>
          </p:cNvSpPr>
          <p:nvPr>
            <p:ph type="body" sz="quarter" idx="12" hasCustomPrompt="1"/>
          </p:nvPr>
        </p:nvSpPr>
        <p:spPr>
          <a:xfrm>
            <a:off x="982663" y="1937885"/>
            <a:ext cx="5816674" cy="584200"/>
          </a:xfrm>
        </p:spPr>
        <p:txBody>
          <a:bodyPr>
            <a:noAutofit/>
          </a:bodyPr>
          <a:lstStyle>
            <a:lvl1pPr>
              <a:defRPr sz="2200">
                <a:solidFill>
                  <a:schemeClr val="accent1"/>
                </a:solidFill>
              </a:defRPr>
            </a:lvl1pPr>
          </a:lstStyle>
          <a:p>
            <a:pPr lvl="0"/>
            <a:r>
              <a:rPr lang="da-DK" dirty="0"/>
              <a:t>Indsæt underoverskift</a:t>
            </a:r>
          </a:p>
        </p:txBody>
      </p:sp>
      <p:sp>
        <p:nvSpPr>
          <p:cNvPr id="6" name="Pladsholder til tekst 28">
            <a:extLst>
              <a:ext uri="{FF2B5EF4-FFF2-40B4-BE49-F238E27FC236}">
                <a16:creationId xmlns:a16="http://schemas.microsoft.com/office/drawing/2014/main" id="{DC2AB37A-1C1F-D872-84A0-7B9734B10F63}"/>
              </a:ext>
            </a:extLst>
          </p:cNvPr>
          <p:cNvSpPr>
            <a:spLocks noGrp="1"/>
          </p:cNvSpPr>
          <p:nvPr>
            <p:ph idx="13"/>
          </p:nvPr>
        </p:nvSpPr>
        <p:spPr>
          <a:xfrm>
            <a:off x="982663" y="2551490"/>
            <a:ext cx="5816344" cy="3368298"/>
          </a:xfrm>
          <a:prstGeom prst="rect">
            <a:avLst/>
          </a:prstGeom>
        </p:spPr>
        <p:txBody>
          <a:bodyPr vert="horz" lIns="91440" tIns="45720" rIns="91440" bIns="4572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indhold 8">
            <a:extLst>
              <a:ext uri="{FF2B5EF4-FFF2-40B4-BE49-F238E27FC236}">
                <a16:creationId xmlns:a16="http://schemas.microsoft.com/office/drawing/2014/main" id="{9FBB15E4-26B5-E8D6-9CC0-61CDA77FAAF6}"/>
              </a:ext>
            </a:extLst>
          </p:cNvPr>
          <p:cNvSpPr>
            <a:spLocks noGrp="1"/>
          </p:cNvSpPr>
          <p:nvPr>
            <p:ph sz="quarter" idx="14" hasCustomPrompt="1"/>
          </p:nvPr>
        </p:nvSpPr>
        <p:spPr>
          <a:xfrm>
            <a:off x="6961239" y="1184275"/>
            <a:ext cx="4859286" cy="4735513"/>
          </a:xfrm>
          <a:solidFill>
            <a:schemeClr val="bg1">
              <a:lumMod val="85000"/>
            </a:schemeClr>
          </a:solidFill>
        </p:spPr>
        <p:txBody>
          <a:bodyPr anchor="ctr"/>
          <a:lstStyle>
            <a:lvl1pPr algn="ctr">
              <a:defRPr/>
            </a:lvl1pPr>
          </a:lstStyle>
          <a:p>
            <a:pPr lvl="0"/>
            <a:r>
              <a:rPr lang="da-DK" dirty="0"/>
              <a:t>Indsæt billede, ikon, graf, figur eller andet visuelt indhold</a:t>
            </a:r>
          </a:p>
        </p:txBody>
      </p:sp>
      <p:sp>
        <p:nvSpPr>
          <p:cNvPr id="5" name="Titel 1">
            <a:extLst>
              <a:ext uri="{FF2B5EF4-FFF2-40B4-BE49-F238E27FC236}">
                <a16:creationId xmlns:a16="http://schemas.microsoft.com/office/drawing/2014/main" id="{F019F7AC-9A35-9823-A79F-6C928D54CE00}"/>
              </a:ext>
            </a:extLst>
          </p:cNvPr>
          <p:cNvSpPr>
            <a:spLocks noGrp="1"/>
          </p:cNvSpPr>
          <p:nvPr>
            <p:ph type="title" hasCustomPrompt="1"/>
          </p:nvPr>
        </p:nvSpPr>
        <p:spPr>
          <a:xfrm>
            <a:off x="982662" y="1184275"/>
            <a:ext cx="5816345" cy="731838"/>
          </a:xfrm>
        </p:spPr>
        <p:txBody>
          <a:bodyPr>
            <a:noAutofit/>
          </a:bodyPr>
          <a:lstStyle>
            <a:lvl1pPr>
              <a:defRPr/>
            </a:lvl1pPr>
          </a:lstStyle>
          <a:p>
            <a:r>
              <a:rPr lang="da-DK" dirty="0"/>
              <a:t>Indsæt overskrift</a:t>
            </a:r>
          </a:p>
        </p:txBody>
      </p:sp>
      <p:sp>
        <p:nvSpPr>
          <p:cNvPr id="4" name="Pladsholder til slidenummer 36">
            <a:extLst>
              <a:ext uri="{FF2B5EF4-FFF2-40B4-BE49-F238E27FC236}">
                <a16:creationId xmlns:a16="http://schemas.microsoft.com/office/drawing/2014/main" id="{602B5826-CA30-E8CB-AE05-1602CC769684}"/>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5"/>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8" name="Pladsholder til sidefod 37">
            <a:extLst>
              <a:ext uri="{FF2B5EF4-FFF2-40B4-BE49-F238E27FC236}">
                <a16:creationId xmlns:a16="http://schemas.microsoft.com/office/drawing/2014/main" id="{361F50F3-AE42-F05F-0424-BDE6D7144EED}"/>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bg1">
                    <a:lumMod val="5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spTree>
    <p:extLst>
      <p:ext uri="{BB962C8B-B14F-4D97-AF65-F5344CB8AC3E}">
        <p14:creationId xmlns:p14="http://schemas.microsoft.com/office/powerpoint/2010/main" val="31455857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kst + element">
    <p:spTree>
      <p:nvGrpSpPr>
        <p:cNvPr id="1" name=""/>
        <p:cNvGrpSpPr/>
        <p:nvPr/>
      </p:nvGrpSpPr>
      <p:grpSpPr>
        <a:xfrm>
          <a:off x="0" y="0"/>
          <a:ext cx="0" cy="0"/>
          <a:chOff x="0" y="0"/>
          <a:chExt cx="0" cy="0"/>
        </a:xfrm>
      </p:grpSpPr>
      <p:sp>
        <p:nvSpPr>
          <p:cNvPr id="6" name="Pladsholder til tekst 28">
            <a:extLst>
              <a:ext uri="{FF2B5EF4-FFF2-40B4-BE49-F238E27FC236}">
                <a16:creationId xmlns:a16="http://schemas.microsoft.com/office/drawing/2014/main" id="{DC2AB37A-1C1F-D872-84A0-7B9734B10F63}"/>
              </a:ext>
            </a:extLst>
          </p:cNvPr>
          <p:cNvSpPr>
            <a:spLocks noGrp="1"/>
          </p:cNvSpPr>
          <p:nvPr>
            <p:ph idx="13"/>
          </p:nvPr>
        </p:nvSpPr>
        <p:spPr>
          <a:xfrm>
            <a:off x="982663" y="3294364"/>
            <a:ext cx="4175933" cy="2102301"/>
          </a:xfrm>
          <a:prstGeom prst="rect">
            <a:avLst/>
          </a:prstGeom>
        </p:spPr>
        <p:txBody>
          <a:bodyPr vert="horz" lIns="91440" tIns="45720" rIns="91440" bIns="4572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Titel 1">
            <a:extLst>
              <a:ext uri="{FF2B5EF4-FFF2-40B4-BE49-F238E27FC236}">
                <a16:creationId xmlns:a16="http://schemas.microsoft.com/office/drawing/2014/main" id="{F019F7AC-9A35-9823-A79F-6C928D54CE00}"/>
              </a:ext>
            </a:extLst>
          </p:cNvPr>
          <p:cNvSpPr>
            <a:spLocks noGrp="1"/>
          </p:cNvSpPr>
          <p:nvPr>
            <p:ph type="title" hasCustomPrompt="1"/>
          </p:nvPr>
        </p:nvSpPr>
        <p:spPr>
          <a:xfrm>
            <a:off x="982662" y="2062975"/>
            <a:ext cx="4175933" cy="1209087"/>
          </a:xfrm>
        </p:spPr>
        <p:txBody>
          <a:bodyPr>
            <a:noAutofit/>
          </a:bodyPr>
          <a:lstStyle>
            <a:lvl1pPr>
              <a:defRPr/>
            </a:lvl1pPr>
          </a:lstStyle>
          <a:p>
            <a:r>
              <a:rPr lang="da-DK" dirty="0"/>
              <a:t>Indsæt overskrift</a:t>
            </a:r>
          </a:p>
        </p:txBody>
      </p:sp>
      <p:sp>
        <p:nvSpPr>
          <p:cNvPr id="4" name="Pladsholder til indhold 8">
            <a:extLst>
              <a:ext uri="{FF2B5EF4-FFF2-40B4-BE49-F238E27FC236}">
                <a16:creationId xmlns:a16="http://schemas.microsoft.com/office/drawing/2014/main" id="{049FB29C-830D-C495-C68D-57AC51006024}"/>
              </a:ext>
            </a:extLst>
          </p:cNvPr>
          <p:cNvSpPr>
            <a:spLocks noGrp="1"/>
          </p:cNvSpPr>
          <p:nvPr>
            <p:ph sz="quarter" idx="14" hasCustomPrompt="1"/>
          </p:nvPr>
        </p:nvSpPr>
        <p:spPr>
          <a:xfrm>
            <a:off x="5847973" y="1029823"/>
            <a:ext cx="5971816" cy="5126158"/>
          </a:xfrm>
          <a:solidFill>
            <a:schemeClr val="bg1">
              <a:lumMod val="85000"/>
            </a:schemeClr>
          </a:solidFill>
        </p:spPr>
        <p:txBody>
          <a:bodyPr anchor="ctr"/>
          <a:lstStyle>
            <a:lvl1pPr algn="ctr">
              <a:defRPr/>
            </a:lvl1pPr>
          </a:lstStyle>
          <a:p>
            <a:pPr lvl="0"/>
            <a:r>
              <a:rPr lang="da-DK" dirty="0"/>
              <a:t>Indsæt billede, ikon, graf, figur eller andet visuelt indhold</a:t>
            </a:r>
          </a:p>
        </p:txBody>
      </p:sp>
      <p:pic>
        <p:nvPicPr>
          <p:cNvPr id="7" name="Billede 6">
            <a:extLst>
              <a:ext uri="{FF2B5EF4-FFF2-40B4-BE49-F238E27FC236}">
                <a16:creationId xmlns:a16="http://schemas.microsoft.com/office/drawing/2014/main" id="{688E75CE-33CB-E588-7C11-287912FBC1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6032941" cy="2249208"/>
          </a:xfrm>
          <a:prstGeom prst="rect">
            <a:avLst/>
          </a:prstGeom>
        </p:spPr>
      </p:pic>
      <p:sp>
        <p:nvSpPr>
          <p:cNvPr id="8" name="Pladsholder til slidenummer 36">
            <a:extLst>
              <a:ext uri="{FF2B5EF4-FFF2-40B4-BE49-F238E27FC236}">
                <a16:creationId xmlns:a16="http://schemas.microsoft.com/office/drawing/2014/main" id="{C98C105F-F14C-E56E-EB2D-FF79D15D8858}"/>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5"/>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9" name="Pladsholder til sidefod 37">
            <a:extLst>
              <a:ext uri="{FF2B5EF4-FFF2-40B4-BE49-F238E27FC236}">
                <a16:creationId xmlns:a16="http://schemas.microsoft.com/office/drawing/2014/main" id="{19A9259C-0404-455E-3466-C2AD475933F0}"/>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bg1">
                    <a:lumMod val="5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spTree>
    <p:extLst>
      <p:ext uri="{BB962C8B-B14F-4D97-AF65-F5344CB8AC3E}">
        <p14:creationId xmlns:p14="http://schemas.microsoft.com/office/powerpoint/2010/main" val="3078028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endParaRPr lang="en-GB" dirty="0"/>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endParaRPr lang="en-GB" dirty="0"/>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da-DK" dirty="0"/>
              <a:t>PROGRAM</a:t>
            </a:r>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da-DK" dirty="0"/>
              <a:t>Tekst
Tekst 
Tekst 
 Tekst 
 Tekst</a:t>
            </a:r>
          </a:p>
          <a:p>
            <a:r>
              <a:rPr lang="da-DK" dirty="0"/>
              <a:t> Tekst</a:t>
            </a:r>
          </a:p>
          <a:p>
            <a:r>
              <a:rPr lang="da-DK" dirty="0"/>
              <a:t> Tekst</a:t>
            </a:r>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28361042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baseline="0"/>
            </a:lvl1pPr>
          </a:lstStyle>
          <a:p>
            <a:pPr rtl="0"/>
            <a:r>
              <a:rPr lang="en-gb"/>
              <a:t>Indsæt overskrift</a:t>
            </a:r>
          </a:p>
        </p:txBody>
      </p:sp>
      <p:sp>
        <p:nvSpPr>
          <p:cNvPr id="3" name="Content Placeholder 2"/>
          <p:cNvSpPr>
            <a:spLocks noGrp="1"/>
          </p:cNvSpPr>
          <p:nvPr>
            <p:ph idx="1" hasCustomPrompt="1"/>
          </p:nvPr>
        </p:nvSpPr>
        <p:spPr>
          <a:xfrm>
            <a:off x="982664" y="2852738"/>
            <a:ext cx="10226674" cy="3303587"/>
          </a:xfrm>
        </p:spPr>
        <p:txBody>
          <a:bodyPr rtlCol="0"/>
          <a:lstStyle>
            <a:lvl1pPr>
              <a:defRPr/>
            </a:lvl1pPr>
          </a:lstStyle>
          <a:p>
            <a:pPr lvl="0" rtl="0"/>
            <a:r>
              <a:rPr lang="en-gb"/>
              <a:t>Klik for at indsætte brødtekst</a:t>
            </a:r>
          </a:p>
          <a:p>
            <a:pPr lvl="1" rtl="0"/>
            <a:r>
              <a:rPr lang="en-gb"/>
              <a:t>Second level</a:t>
            </a:r>
            <a:endParaRPr lang="da-DK"/>
          </a:p>
          <a:p>
            <a:pPr lvl="2" rtl="0"/>
            <a:r>
              <a:rPr lang="en-gb"/>
              <a:t>Third level</a:t>
            </a:r>
            <a:endParaRPr lang="da-DK"/>
          </a:p>
          <a:p>
            <a:pPr lvl="3" rtl="0"/>
            <a:r>
              <a:rPr lang="en-gb"/>
              <a:t>Fourth level</a:t>
            </a:r>
            <a:endParaRPr lang="da-DK"/>
          </a:p>
          <a:p>
            <a:pPr lvl="4" rtl="0"/>
            <a:r>
              <a:rPr lang="en-gb"/>
              <a:t>Fifth level</a:t>
            </a:r>
            <a:endParaRPr lang="da-DK"/>
          </a:p>
        </p:txBody>
      </p:sp>
      <p:sp>
        <p:nvSpPr>
          <p:cNvPr id="4" name="Date_DateCustomA"/>
          <p:cNvSpPr>
            <a:spLocks noGrp="1"/>
          </p:cNvSpPr>
          <p:nvPr>
            <p:ph type="dt" sz="half" idx="10"/>
          </p:nvPr>
        </p:nvSpPr>
        <p:spPr/>
        <p:txBody>
          <a:bodyPr rtlCol="0"/>
          <a:lstStyle/>
          <a:p>
            <a:pPr rtl="0"/>
            <a:fld id="{5A4ADCA1-DA0C-4C3D-976B-FC5295A4F8DA}" type="datetime1">
              <a:rPr lang="da-DK" smtClean="0"/>
              <a:t>13-10-2025</a:t>
            </a:fld>
            <a:endParaRPr lang="da-DK"/>
          </a:p>
        </p:txBody>
      </p:sp>
      <p:sp>
        <p:nvSpPr>
          <p:cNvPr id="5" name="FLD_PresentationTitle"/>
          <p:cNvSpPr>
            <a:spLocks noGrp="1"/>
          </p:cNvSpPr>
          <p:nvPr>
            <p:ph type="ftr" sz="quarter" idx="11"/>
          </p:nvPr>
        </p:nvSpPr>
        <p:spPr/>
        <p:txBody>
          <a:bodyPr rtlCol="0"/>
          <a:lstStyle/>
          <a:p>
            <a:pPr rtl="0"/>
            <a:endParaRPr lang="da-DK"/>
          </a:p>
        </p:txBody>
      </p:sp>
      <p:sp>
        <p:nvSpPr>
          <p:cNvPr id="6" name="Slide Number Placeholder 5"/>
          <p:cNvSpPr>
            <a:spLocks noGrp="1"/>
          </p:cNvSpPr>
          <p:nvPr>
            <p:ph type="sldNum" sz="quarter" idx="12"/>
          </p:nvPr>
        </p:nvSpPr>
        <p:spPr/>
        <p:txBody>
          <a:bodyPr rtlCol="0"/>
          <a:lstStyle/>
          <a:p>
            <a:pPr rtl="0"/>
            <a:fld id="{24C8C45C-947F-4981-8B3F-4F32E973C901}" type="slidenum">
              <a:rPr lang="da-DK" smtClean="0"/>
              <a:t>‹nr.›</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rtlCol="0"/>
          <a:lstStyle>
            <a:lvl1pPr>
              <a:defRPr sz="2200">
                <a:solidFill>
                  <a:schemeClr val="accent1"/>
                </a:solidFill>
              </a:defRPr>
            </a:lvl1pPr>
          </a:lstStyle>
          <a:p>
            <a:pPr lvl="0" rtl="0"/>
            <a:r>
              <a:rPr lang="en-gb"/>
              <a:t>Indsæt underoverskrift eller indledning</a:t>
            </a:r>
          </a:p>
        </p:txBody>
      </p:sp>
    </p:spTree>
    <p:extLst>
      <p:ext uri="{BB962C8B-B14F-4D97-AF65-F5344CB8AC3E}">
        <p14:creationId xmlns:p14="http://schemas.microsoft.com/office/powerpoint/2010/main" val="20826752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rtlCol="0"/>
          <a:lstStyle>
            <a:lvl1pPr>
              <a:defRPr sz="100">
                <a:noFill/>
              </a:defRPr>
            </a:lvl1pPr>
          </a:lstStyle>
          <a:p>
            <a:pPr rtl="0"/>
            <a:fld id="{2B6CB916-071F-45EA-A9C2-0F92C07A07BD}" type="datetime1">
              <a:rPr lang="da-DK" smtClean="0"/>
              <a:t>13-10-2025</a:t>
            </a:fld>
            <a:endParaRPr lang="da-DK"/>
          </a:p>
        </p:txBody>
      </p:sp>
      <p:sp>
        <p:nvSpPr>
          <p:cNvPr id="10" name="FLD_PresentationTitle"/>
          <p:cNvSpPr>
            <a:spLocks noGrp="1"/>
          </p:cNvSpPr>
          <p:nvPr>
            <p:ph type="ftr" sz="quarter" idx="11"/>
          </p:nvPr>
        </p:nvSpPr>
        <p:spPr>
          <a:xfrm>
            <a:off x="0" y="6912000"/>
            <a:ext cx="0" cy="0"/>
          </a:xfrm>
        </p:spPr>
        <p:txBody>
          <a:bodyPr rtlCol="0"/>
          <a:lstStyle>
            <a:lvl1pPr>
              <a:defRPr sz="100">
                <a:noFill/>
              </a:defRPr>
            </a:lvl1pPr>
          </a:lstStyle>
          <a:p>
            <a:pPr rtl="0"/>
            <a:endParaRPr lang="da-DK"/>
          </a:p>
        </p:txBody>
      </p:sp>
      <p:sp>
        <p:nvSpPr>
          <p:cNvPr id="11" name="Slide Number Placeholder 5" hidden="1"/>
          <p:cNvSpPr>
            <a:spLocks noGrp="1"/>
          </p:cNvSpPr>
          <p:nvPr>
            <p:ph type="sldNum" sz="quarter" idx="12"/>
          </p:nvPr>
        </p:nvSpPr>
        <p:spPr>
          <a:xfrm>
            <a:off x="0" y="6912000"/>
            <a:ext cx="0" cy="0"/>
          </a:xfrm>
        </p:spPr>
        <p:txBody>
          <a:bodyPr rtlCol="0"/>
          <a:lstStyle>
            <a:lvl1pPr>
              <a:defRPr>
                <a:noFill/>
              </a:defRPr>
            </a:lvl1pPr>
          </a:lstStyle>
          <a:p>
            <a:pPr rtl="0"/>
            <a:fld id="{24C8C45C-947F-4981-8B3F-4F32E973C901}" type="slidenum">
              <a:rPr lang="da-DK" smtClean="0"/>
              <a:pPr rtl="0"/>
              <a:t>‹nr.›</a:t>
            </a:fld>
            <a:endParaRPr lang="da-DK"/>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2817882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545406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8559" y="469879"/>
            <a:ext cx="9313035" cy="419863"/>
          </a:xfrm>
        </p:spPr>
        <p:txBody>
          <a:bodyPr/>
          <a:lstStyle>
            <a:lvl1pPr>
              <a:defRPr/>
            </a:lvl1pPr>
          </a:lstStyle>
          <a:p>
            <a:r>
              <a:rPr lang="da-DK" dirty="0"/>
              <a:t>Klik og indsæt overskrift – ORG MASTER</a:t>
            </a:r>
          </a:p>
        </p:txBody>
      </p:sp>
      <p:sp>
        <p:nvSpPr>
          <p:cNvPr id="4" name="Pladsholder til dato 3"/>
          <p:cNvSpPr>
            <a:spLocks noGrp="1"/>
          </p:cNvSpPr>
          <p:nvPr>
            <p:ph type="dt" sz="half" idx="10"/>
          </p:nvPr>
        </p:nvSpPr>
        <p:spPr/>
        <p:txBody>
          <a:bodyPr/>
          <a:lstStyle>
            <a:lvl1pPr>
              <a:defRPr sz="800"/>
            </a:lvl1pPr>
          </a:lstStyle>
          <a:p>
            <a:r>
              <a:rPr lang="da-DK">
                <a:solidFill>
                  <a:srgbClr val="A0C1C2"/>
                </a:solidFill>
              </a:rPr>
              <a:t>17. december 2024</a:t>
            </a:r>
            <a:endParaRPr lang="da-DK" dirty="0">
              <a:solidFill>
                <a:srgbClr val="A0C1C2"/>
              </a:solidFill>
            </a:endParaRPr>
          </a:p>
        </p:txBody>
      </p:sp>
      <p:sp>
        <p:nvSpPr>
          <p:cNvPr id="5" name="Pladsholder til sidefod 4"/>
          <p:cNvSpPr>
            <a:spLocks noGrp="1"/>
          </p:cNvSpPr>
          <p:nvPr>
            <p:ph type="ftr" sz="quarter" idx="11"/>
          </p:nvPr>
        </p:nvSpPr>
        <p:spPr/>
        <p:txBody>
          <a:bodyPr/>
          <a:lstStyle>
            <a:lvl1pPr>
              <a:defRPr sz="800"/>
            </a:lvl1pPr>
          </a:lstStyle>
          <a:p>
            <a:r>
              <a:rPr lang="da-DK">
                <a:solidFill>
                  <a:srgbClr val="A0C1C2"/>
                </a:solidFill>
              </a:rPr>
              <a:t>Dok. 13/88765-45 Til arbejdsbrug/Restricted</a:t>
            </a:r>
            <a:endParaRPr lang="da-DK" dirty="0">
              <a:solidFill>
                <a:srgbClr val="A0C1C2"/>
              </a:solidFill>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solidFill>
                  <a:srgbClr val="A0C1C2"/>
                </a:solidFill>
              </a:rPr>
              <a:pPr/>
              <a:t>‹nr.›</a:t>
            </a:fld>
            <a:endParaRPr lang="da-DK" dirty="0">
              <a:solidFill>
                <a:srgbClr val="A0C1C2"/>
              </a:solidFill>
            </a:endParaRPr>
          </a:p>
        </p:txBody>
      </p:sp>
      <p:sp>
        <p:nvSpPr>
          <p:cNvPr id="7" name="Rectangle 6"/>
          <p:cNvSpPr/>
          <p:nvPr userDrawn="1"/>
        </p:nvSpPr>
        <p:spPr>
          <a:xfrm>
            <a:off x="12336000" y="1"/>
            <a:ext cx="2400000" cy="2215991"/>
          </a:xfrm>
          <a:prstGeom prst="rect">
            <a:avLst/>
          </a:prstGeom>
        </p:spPr>
        <p:txBody>
          <a:bodyPr wrap="square" lIns="0" tIns="0" rIns="0" bIns="0">
            <a:spAutoFit/>
          </a:bodyPr>
          <a:lstStyle/>
          <a:p>
            <a:r>
              <a:rPr lang="da-DK" sz="1200" b="1" dirty="0">
                <a:solidFill>
                  <a:prstClr val="white"/>
                </a:solidFill>
              </a:rPr>
              <a:t>Gode råd:</a:t>
            </a:r>
          </a:p>
          <a:p>
            <a:endParaRPr lang="da-DK" sz="1200" dirty="0">
              <a:solidFill>
                <a:prstClr val="white"/>
              </a:solidFill>
            </a:endParaRPr>
          </a:p>
          <a:p>
            <a:r>
              <a:rPr lang="da-DK" sz="1200" dirty="0">
                <a:solidFill>
                  <a:prstClr val="white"/>
                </a:solidFill>
              </a:rPr>
              <a:t>Modtageren vil høre din præsentation, ikke læse slides.</a:t>
            </a:r>
          </a:p>
          <a:p>
            <a:endParaRPr lang="da-DK" sz="1200" dirty="0">
              <a:solidFill>
                <a:prstClr val="white"/>
              </a:solidFill>
            </a:endParaRPr>
          </a:p>
          <a:p>
            <a:r>
              <a:rPr lang="da-DK" sz="1200" dirty="0">
                <a:solidFill>
                  <a:prstClr val="white"/>
                </a:solidFill>
              </a:rPr>
              <a:t>Brug notefeltet som hjælp til at huske, hvad du vil sige.</a:t>
            </a:r>
          </a:p>
          <a:p>
            <a:endParaRPr lang="da-DK" sz="1200" dirty="0">
              <a:solidFill>
                <a:prstClr val="white"/>
              </a:solidFill>
            </a:endParaRPr>
          </a:p>
          <a:p>
            <a:r>
              <a:rPr lang="da-DK" sz="1200" dirty="0">
                <a:solidFill>
                  <a:prstClr val="white"/>
                </a:solidFill>
              </a:rPr>
              <a:t>Har du behov for, at modtageren skal huske vigtig information, så lav faktaark og del ud.</a:t>
            </a:r>
          </a:p>
          <a:p>
            <a:endParaRPr lang="da-DK" sz="1200" dirty="0">
              <a:solidFill>
                <a:prstClr val="white"/>
              </a:solidFill>
            </a:endParaRPr>
          </a:p>
        </p:txBody>
      </p:sp>
    </p:spTree>
    <p:extLst>
      <p:ext uri="{BB962C8B-B14F-4D97-AF65-F5344CB8AC3E}">
        <p14:creationId xmlns:p14="http://schemas.microsoft.com/office/powerpoint/2010/main" val="6949764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rside hvi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6C47443-1A01-2A0C-BC23-9179B79A5F65}"/>
              </a:ext>
            </a:extLst>
          </p:cNvPr>
          <p:cNvSpPr>
            <a:spLocks noGrp="1"/>
          </p:cNvSpPr>
          <p:nvPr>
            <p:ph type="ctrTitle" hasCustomPrompt="1"/>
          </p:nvPr>
        </p:nvSpPr>
        <p:spPr>
          <a:xfrm>
            <a:off x="2350257" y="1575836"/>
            <a:ext cx="7491487" cy="1846264"/>
          </a:xfrm>
          <a:prstGeom prst="rect">
            <a:avLst/>
          </a:prstGeom>
        </p:spPr>
        <p:txBody>
          <a:bodyPr anchor="b"/>
          <a:lstStyle>
            <a:lvl1pPr algn="ctr">
              <a:spcBef>
                <a:spcPts val="400"/>
              </a:spcBef>
              <a:defRPr sz="4800" baseline="0">
                <a:solidFill>
                  <a:schemeClr val="accent2"/>
                </a:solidFill>
              </a:defRPr>
            </a:lvl1pPr>
          </a:lstStyle>
          <a:p>
            <a:r>
              <a:rPr lang="da-DK"/>
              <a:t>Indsæt overskrift</a:t>
            </a:r>
          </a:p>
        </p:txBody>
      </p:sp>
      <p:sp>
        <p:nvSpPr>
          <p:cNvPr id="14" name="Subtitle 2">
            <a:extLst>
              <a:ext uri="{FF2B5EF4-FFF2-40B4-BE49-F238E27FC236}">
                <a16:creationId xmlns:a16="http://schemas.microsoft.com/office/drawing/2014/main" id="{435E4D8F-DD63-4B2C-C03F-C5254CE0645C}"/>
              </a:ext>
            </a:extLst>
          </p:cNvPr>
          <p:cNvSpPr>
            <a:spLocks noGrp="1"/>
          </p:cNvSpPr>
          <p:nvPr>
            <p:ph type="subTitle" idx="1" hasCustomPrompt="1"/>
          </p:nvPr>
        </p:nvSpPr>
        <p:spPr>
          <a:xfrm>
            <a:off x="2350257" y="3484916"/>
            <a:ext cx="7491487" cy="524933"/>
          </a:xfrm>
          <a:prstGeom prst="rect">
            <a:avLst/>
          </a:prstGeom>
        </p:spPr>
        <p:txBody>
          <a:bodyPr/>
          <a:lstStyle>
            <a:lvl1pPr marL="0" indent="0" algn="ctr">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15" name="Text Placeholder 8">
            <a:extLst>
              <a:ext uri="{FF2B5EF4-FFF2-40B4-BE49-F238E27FC236}">
                <a16:creationId xmlns:a16="http://schemas.microsoft.com/office/drawing/2014/main" id="{F7B435E4-2F02-5818-14D5-1BE318E5DE8E}"/>
              </a:ext>
            </a:extLst>
          </p:cNvPr>
          <p:cNvSpPr>
            <a:spLocks noGrp="1"/>
          </p:cNvSpPr>
          <p:nvPr>
            <p:ph type="body" sz="quarter" idx="13" hasCustomPrompt="1"/>
          </p:nvPr>
        </p:nvSpPr>
        <p:spPr>
          <a:xfrm>
            <a:off x="2349992" y="4072136"/>
            <a:ext cx="7492016" cy="458788"/>
          </a:xfrm>
          <a:prstGeom prst="rect">
            <a:avLst/>
          </a:prstGeom>
        </p:spPr>
        <p:txBody>
          <a:bodyPr/>
          <a:lstStyle>
            <a:lvl1pPr marL="0" indent="0" algn="ctr">
              <a:spcBef>
                <a:spcPts val="0"/>
              </a:spcBef>
              <a:buFont typeface="Arial" panose="020B0604020202020204" pitchFamily="34" charset="0"/>
              <a:buNone/>
              <a:defRPr sz="2400" i="1">
                <a:solidFill>
                  <a:schemeClr val="accent2"/>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pic>
        <p:nvPicPr>
          <p:cNvPr id="30" name="Billede 29" descr="Et billede, der indeholder Symmetri, kunst, design&#10;&#10;Automatisk genereret beskrivelse">
            <a:extLst>
              <a:ext uri="{FF2B5EF4-FFF2-40B4-BE49-F238E27FC236}">
                <a16:creationId xmlns:a16="http://schemas.microsoft.com/office/drawing/2014/main" id="{2C188F76-8E77-88BF-5EE3-D422CE30E208}"/>
              </a:ext>
            </a:extLst>
          </p:cNvPr>
          <p:cNvPicPr>
            <a:picLocks noChangeAspect="1"/>
          </p:cNvPicPr>
          <p:nvPr userDrawn="1"/>
        </p:nvPicPr>
        <p:blipFill>
          <a:blip r:embed="rId2"/>
          <a:stretch>
            <a:fillRect/>
          </a:stretch>
        </p:blipFill>
        <p:spPr>
          <a:xfrm>
            <a:off x="0" y="1729780"/>
            <a:ext cx="5130800" cy="5143500"/>
          </a:xfrm>
          <a:prstGeom prst="rect">
            <a:avLst/>
          </a:prstGeom>
        </p:spPr>
      </p:pic>
    </p:spTree>
    <p:extLst>
      <p:ext uri="{BB962C8B-B14F-4D97-AF65-F5344CB8AC3E}">
        <p14:creationId xmlns:p14="http://schemas.microsoft.com/office/powerpoint/2010/main" val="5739778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rside grøn">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578614D2-EBF3-1CFF-1CFA-2D58A6C1390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pic>
        <p:nvPicPr>
          <p:cNvPr id="12" name="Logo">
            <a:extLst>
              <a:ext uri="{FF2B5EF4-FFF2-40B4-BE49-F238E27FC236}">
                <a16:creationId xmlns:a16="http://schemas.microsoft.com/office/drawing/2014/main" id="{9DE5E3AD-D8C6-BE63-C26F-CDFA5771D1E9}"/>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15" name="Title 1">
            <a:extLst>
              <a:ext uri="{FF2B5EF4-FFF2-40B4-BE49-F238E27FC236}">
                <a16:creationId xmlns:a16="http://schemas.microsoft.com/office/drawing/2014/main" id="{88F3EA5A-DD15-FC8D-F030-6FE14537354D}"/>
              </a:ext>
            </a:extLst>
          </p:cNvPr>
          <p:cNvSpPr>
            <a:spLocks noGrp="1"/>
          </p:cNvSpPr>
          <p:nvPr>
            <p:ph type="ctrTitle" hasCustomPrompt="1"/>
          </p:nvPr>
        </p:nvSpPr>
        <p:spPr>
          <a:xfrm>
            <a:off x="2350257" y="1575836"/>
            <a:ext cx="7491487" cy="1846264"/>
          </a:xfrm>
          <a:prstGeom prst="rect">
            <a:avLst/>
          </a:prstGeom>
        </p:spPr>
        <p:txBody>
          <a:bodyPr anchor="b"/>
          <a:lstStyle>
            <a:lvl1pPr algn="ctr">
              <a:spcBef>
                <a:spcPts val="400"/>
              </a:spcBef>
              <a:defRPr sz="4800" baseline="0">
                <a:solidFill>
                  <a:schemeClr val="bg1"/>
                </a:solidFill>
              </a:defRPr>
            </a:lvl1pPr>
          </a:lstStyle>
          <a:p>
            <a:r>
              <a:rPr lang="da-DK"/>
              <a:t>Indsæt overskrift</a:t>
            </a:r>
          </a:p>
        </p:txBody>
      </p:sp>
      <p:sp>
        <p:nvSpPr>
          <p:cNvPr id="16" name="Subtitle 2">
            <a:extLst>
              <a:ext uri="{FF2B5EF4-FFF2-40B4-BE49-F238E27FC236}">
                <a16:creationId xmlns:a16="http://schemas.microsoft.com/office/drawing/2014/main" id="{5323357F-9DD7-3666-82B6-E32A845113EC}"/>
              </a:ext>
            </a:extLst>
          </p:cNvPr>
          <p:cNvSpPr>
            <a:spLocks noGrp="1"/>
          </p:cNvSpPr>
          <p:nvPr>
            <p:ph type="subTitle" idx="1" hasCustomPrompt="1"/>
          </p:nvPr>
        </p:nvSpPr>
        <p:spPr>
          <a:xfrm>
            <a:off x="2350257" y="3484916"/>
            <a:ext cx="7491487" cy="524933"/>
          </a:xfrm>
          <a:prstGeom prst="rect">
            <a:avLst/>
          </a:prstGeom>
        </p:spPr>
        <p:txBody>
          <a:bodyPr/>
          <a:lstStyle>
            <a:lvl1pPr marL="0" indent="0" algn="ctr">
              <a:lnSpc>
                <a:spcPct val="83000"/>
              </a:lnSpc>
              <a:spcBef>
                <a:spcPts val="400"/>
              </a:spcBef>
              <a:buFont typeface="Arial" panose="020B0604020202020204" pitchFamily="34" charset="0"/>
              <a:buNone/>
              <a:defRPr sz="3300">
                <a:solidFill>
                  <a:schemeClr val="bg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17" name="Text Placeholder 8">
            <a:extLst>
              <a:ext uri="{FF2B5EF4-FFF2-40B4-BE49-F238E27FC236}">
                <a16:creationId xmlns:a16="http://schemas.microsoft.com/office/drawing/2014/main" id="{7B6091B0-1E87-8FB0-EDD0-B041C96BC56E}"/>
              </a:ext>
            </a:extLst>
          </p:cNvPr>
          <p:cNvSpPr>
            <a:spLocks noGrp="1"/>
          </p:cNvSpPr>
          <p:nvPr>
            <p:ph type="body" sz="quarter" idx="13" hasCustomPrompt="1"/>
          </p:nvPr>
        </p:nvSpPr>
        <p:spPr>
          <a:xfrm>
            <a:off x="2349992" y="4072136"/>
            <a:ext cx="7492016" cy="458788"/>
          </a:xfrm>
          <a:prstGeom prst="rect">
            <a:avLst/>
          </a:prstGeom>
        </p:spPr>
        <p:txBody>
          <a:bodyPr/>
          <a:lstStyle>
            <a:lvl1pPr marL="0" indent="0" algn="ctr">
              <a:spcBef>
                <a:spcPts val="0"/>
              </a:spcBef>
              <a:buFont typeface="Arial" panose="020B0604020202020204" pitchFamily="34" charset="0"/>
              <a:buNone/>
              <a:defRPr sz="2400" b="0" i="1">
                <a:solidFill>
                  <a:schemeClr val="accent4"/>
                </a:solidFill>
                <a:latin typeface="Calibri" panose="020F0502020204030204" pitchFamily="34" charset="0"/>
                <a:cs typeface="Calibri" panose="020F0502020204030204" pitchFamily="34" charset="0"/>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pic>
        <p:nvPicPr>
          <p:cNvPr id="19" name="Billede 18" descr="Et billede, der indeholder kunst, Symmetri, design&#10;&#10;Automatisk genereret beskrivelse">
            <a:extLst>
              <a:ext uri="{FF2B5EF4-FFF2-40B4-BE49-F238E27FC236}">
                <a16:creationId xmlns:a16="http://schemas.microsoft.com/office/drawing/2014/main" id="{08735F06-080E-C860-2097-B3C528FFB566}"/>
              </a:ext>
            </a:extLst>
          </p:cNvPr>
          <p:cNvPicPr>
            <a:picLocks noChangeAspect="1"/>
          </p:cNvPicPr>
          <p:nvPr userDrawn="1"/>
        </p:nvPicPr>
        <p:blipFill>
          <a:blip r:embed="rId3"/>
          <a:stretch>
            <a:fillRect/>
          </a:stretch>
        </p:blipFill>
        <p:spPr>
          <a:xfrm>
            <a:off x="0" y="1713451"/>
            <a:ext cx="5130800" cy="5143500"/>
          </a:xfrm>
          <a:prstGeom prst="rect">
            <a:avLst/>
          </a:prstGeom>
        </p:spPr>
      </p:pic>
    </p:spTree>
    <p:extLst>
      <p:ext uri="{BB962C8B-B14F-4D97-AF65-F5344CB8AC3E}">
        <p14:creationId xmlns:p14="http://schemas.microsoft.com/office/powerpoint/2010/main" val="12379034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rside blå">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79BA6EF-0432-3374-661C-A8E53064F0A2}"/>
              </a:ext>
            </a:extLst>
          </p:cNvPr>
          <p:cNvSpPr>
            <a:spLocks noGrp="1"/>
          </p:cNvSpPr>
          <p:nvPr>
            <p:ph type="sldNum" sz="quarter" idx="10"/>
          </p:nvPr>
        </p:nvSpPr>
        <p:spPr/>
        <p:txBody>
          <a:bodyPr/>
          <a:lstStyle/>
          <a:p>
            <a:fld id="{F2D73B7F-08C4-6046-88E9-62138AE0454A}" type="slidenum">
              <a:rPr lang="da-DK" smtClean="0"/>
              <a:pPr/>
              <a:t>‹nr.›</a:t>
            </a:fld>
            <a:endParaRPr lang="da-DK"/>
          </a:p>
        </p:txBody>
      </p:sp>
      <p:sp>
        <p:nvSpPr>
          <p:cNvPr id="4" name="Footer Placeholder 3">
            <a:extLst>
              <a:ext uri="{FF2B5EF4-FFF2-40B4-BE49-F238E27FC236}">
                <a16:creationId xmlns:a16="http://schemas.microsoft.com/office/drawing/2014/main" id="{D8C07392-DE6D-4A0A-FA6F-98F311B5C4FE}"/>
              </a:ext>
            </a:extLst>
          </p:cNvPr>
          <p:cNvSpPr>
            <a:spLocks noGrp="1"/>
          </p:cNvSpPr>
          <p:nvPr>
            <p:ph type="ftr" sz="quarter" idx="11"/>
          </p:nvPr>
        </p:nvSpPr>
        <p:spPr>
          <a:xfrm>
            <a:off x="7152156" y="6687795"/>
            <a:ext cx="3951017" cy="104104"/>
          </a:xfrm>
          <a:prstGeom prst="rect">
            <a:avLst/>
          </a:prstGeom>
        </p:spPr>
        <p:txBody>
          <a:bodyPr/>
          <a:lstStyle/>
          <a:p>
            <a:r>
              <a:rPr lang="da-DK"/>
              <a:t>Dok. nr</a:t>
            </a:r>
          </a:p>
        </p:txBody>
      </p:sp>
      <p:sp>
        <p:nvSpPr>
          <p:cNvPr id="5" name="Rectangle 3">
            <a:extLst>
              <a:ext uri="{FF2B5EF4-FFF2-40B4-BE49-F238E27FC236}">
                <a16:creationId xmlns:a16="http://schemas.microsoft.com/office/drawing/2014/main" id="{BF397B60-5ED3-DE70-ABE8-92B6EF7CE0BA}"/>
              </a:ext>
            </a:extLst>
          </p:cNvPr>
          <p:cNvSpPr/>
          <p:nvPr userDrawn="1"/>
        </p:nvSpPr>
        <p:spPr>
          <a:xfrm>
            <a:off x="0" y="0"/>
            <a:ext cx="12192000"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a-DK" sz="2000" noProof="0" err="1"/>
          </a:p>
        </p:txBody>
      </p:sp>
      <p:pic>
        <p:nvPicPr>
          <p:cNvPr id="6" name="Logo">
            <a:extLst>
              <a:ext uri="{FF2B5EF4-FFF2-40B4-BE49-F238E27FC236}">
                <a16:creationId xmlns:a16="http://schemas.microsoft.com/office/drawing/2014/main" id="{B93D9E4A-8779-E8FC-D52D-3D07F155FA22}"/>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7" name="Title 1">
            <a:extLst>
              <a:ext uri="{FF2B5EF4-FFF2-40B4-BE49-F238E27FC236}">
                <a16:creationId xmlns:a16="http://schemas.microsoft.com/office/drawing/2014/main" id="{E698C830-2F1D-956A-4F7B-19095984D46E}"/>
              </a:ext>
            </a:extLst>
          </p:cNvPr>
          <p:cNvSpPr>
            <a:spLocks noGrp="1"/>
          </p:cNvSpPr>
          <p:nvPr>
            <p:ph type="ctrTitle" hasCustomPrompt="1"/>
          </p:nvPr>
        </p:nvSpPr>
        <p:spPr>
          <a:xfrm>
            <a:off x="2350257" y="1575836"/>
            <a:ext cx="7491487" cy="1846264"/>
          </a:xfrm>
          <a:prstGeom prst="rect">
            <a:avLst/>
          </a:prstGeom>
        </p:spPr>
        <p:txBody>
          <a:bodyPr anchor="b"/>
          <a:lstStyle>
            <a:lvl1pPr algn="ctr">
              <a:spcBef>
                <a:spcPts val="400"/>
              </a:spcBef>
              <a:defRPr sz="4800" baseline="0">
                <a:solidFill>
                  <a:schemeClr val="bg1"/>
                </a:solidFill>
              </a:defRPr>
            </a:lvl1pPr>
          </a:lstStyle>
          <a:p>
            <a:r>
              <a:rPr lang="da-DK"/>
              <a:t>Indsæt overskrift</a:t>
            </a:r>
          </a:p>
        </p:txBody>
      </p:sp>
      <p:sp>
        <p:nvSpPr>
          <p:cNvPr id="8" name="Subtitle 2">
            <a:extLst>
              <a:ext uri="{FF2B5EF4-FFF2-40B4-BE49-F238E27FC236}">
                <a16:creationId xmlns:a16="http://schemas.microsoft.com/office/drawing/2014/main" id="{5FA347A3-425D-0F0C-5D11-65683A47E34F}"/>
              </a:ext>
            </a:extLst>
          </p:cNvPr>
          <p:cNvSpPr>
            <a:spLocks noGrp="1"/>
          </p:cNvSpPr>
          <p:nvPr>
            <p:ph type="subTitle" idx="1" hasCustomPrompt="1"/>
          </p:nvPr>
        </p:nvSpPr>
        <p:spPr>
          <a:xfrm>
            <a:off x="2350257" y="3484916"/>
            <a:ext cx="7491487" cy="524933"/>
          </a:xfrm>
          <a:prstGeom prst="rect">
            <a:avLst/>
          </a:prstGeom>
        </p:spPr>
        <p:txBody>
          <a:bodyPr/>
          <a:lstStyle>
            <a:lvl1pPr marL="0" indent="0" algn="ctr">
              <a:lnSpc>
                <a:spcPct val="83000"/>
              </a:lnSpc>
              <a:spcBef>
                <a:spcPts val="400"/>
              </a:spcBef>
              <a:buFont typeface="Arial" panose="020B0604020202020204" pitchFamily="34" charset="0"/>
              <a:buNone/>
              <a:defRPr sz="3300">
                <a:solidFill>
                  <a:schemeClr val="bg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9" name="Text Placeholder 8">
            <a:extLst>
              <a:ext uri="{FF2B5EF4-FFF2-40B4-BE49-F238E27FC236}">
                <a16:creationId xmlns:a16="http://schemas.microsoft.com/office/drawing/2014/main" id="{9F97BD29-2845-A063-1B53-6DA9DCA5AD5F}"/>
              </a:ext>
            </a:extLst>
          </p:cNvPr>
          <p:cNvSpPr>
            <a:spLocks noGrp="1"/>
          </p:cNvSpPr>
          <p:nvPr>
            <p:ph type="body" sz="quarter" idx="13" hasCustomPrompt="1"/>
          </p:nvPr>
        </p:nvSpPr>
        <p:spPr>
          <a:xfrm>
            <a:off x="2349992" y="4072136"/>
            <a:ext cx="7492016" cy="458788"/>
          </a:xfrm>
          <a:prstGeom prst="rect">
            <a:avLst/>
          </a:prstGeom>
        </p:spPr>
        <p:txBody>
          <a:bodyPr/>
          <a:lstStyle>
            <a:lvl1pPr marL="0" indent="0" algn="ctr">
              <a:spcBef>
                <a:spcPts val="0"/>
              </a:spcBef>
              <a:buFont typeface="Arial" panose="020B0604020202020204" pitchFamily="34" charset="0"/>
              <a:buNone/>
              <a:defRPr sz="2400" b="0" i="1">
                <a:solidFill>
                  <a:schemeClr val="accent4"/>
                </a:solidFill>
                <a:latin typeface="Calibri" panose="020F0502020204030204" pitchFamily="34" charset="0"/>
                <a:cs typeface="Calibri" panose="020F0502020204030204" pitchFamily="34" charset="0"/>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pic>
        <p:nvPicPr>
          <p:cNvPr id="10" name="Billede 18" descr="Et billede, der indeholder kunst, Symmetri, design&#10;&#10;Automatisk genereret beskrivelse">
            <a:extLst>
              <a:ext uri="{FF2B5EF4-FFF2-40B4-BE49-F238E27FC236}">
                <a16:creationId xmlns:a16="http://schemas.microsoft.com/office/drawing/2014/main" id="{A8F8FD1E-FB18-8393-F2EE-0B28080E6698}"/>
              </a:ext>
            </a:extLst>
          </p:cNvPr>
          <p:cNvPicPr>
            <a:picLocks noChangeAspect="1"/>
          </p:cNvPicPr>
          <p:nvPr userDrawn="1"/>
        </p:nvPicPr>
        <p:blipFill>
          <a:blip r:embed="rId3"/>
          <a:stretch>
            <a:fillRect/>
          </a:stretch>
        </p:blipFill>
        <p:spPr>
          <a:xfrm>
            <a:off x="0" y="1713451"/>
            <a:ext cx="5130800" cy="5143500"/>
          </a:xfrm>
          <a:prstGeom prst="rect">
            <a:avLst/>
          </a:prstGeom>
        </p:spPr>
      </p:pic>
    </p:spTree>
    <p:extLst>
      <p:ext uri="{BB962C8B-B14F-4D97-AF65-F5344CB8AC3E}">
        <p14:creationId xmlns:p14="http://schemas.microsoft.com/office/powerpoint/2010/main" val="19854072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dsholder til slidenummer 36">
            <a:extLst>
              <a:ext uri="{FF2B5EF4-FFF2-40B4-BE49-F238E27FC236}">
                <a16:creationId xmlns:a16="http://schemas.microsoft.com/office/drawing/2014/main" id="{72B6E7FA-3EFC-596C-838B-7B0682DFA6CF}"/>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a:p>
        </p:txBody>
      </p:sp>
      <p:sp>
        <p:nvSpPr>
          <p:cNvPr id="3" name="Pladsholder til sidefod 37">
            <a:extLst>
              <a:ext uri="{FF2B5EF4-FFF2-40B4-BE49-F238E27FC236}">
                <a16:creationId xmlns:a16="http://schemas.microsoft.com/office/drawing/2014/main" id="{01C9B88F-D58F-8E70-3444-B376D60E5CF2}"/>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pic>
        <p:nvPicPr>
          <p:cNvPr id="4" name="Logo">
            <a:extLst>
              <a:ext uri="{FF2B5EF4-FFF2-40B4-BE49-F238E27FC236}">
                <a16:creationId xmlns:a16="http://schemas.microsoft.com/office/drawing/2014/main" id="{907EE2DE-1611-B46B-F068-8191CA48CA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49"/>
            <a:ext cx="1433231" cy="173615"/>
          </a:xfrm>
          <a:prstGeom prst="rect">
            <a:avLst/>
          </a:prstGeom>
        </p:spPr>
      </p:pic>
    </p:spTree>
    <p:extLst>
      <p:ext uri="{BB962C8B-B14F-4D97-AF65-F5344CB8AC3E}">
        <p14:creationId xmlns:p14="http://schemas.microsoft.com/office/powerpoint/2010/main" val="8326038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Overskrift med forklaring til højre">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9940BBE2-C965-067A-B4CD-EF7046B4354D}"/>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A1370462-CBB5-2F57-3B65-E83F83222492}"/>
              </a:ext>
            </a:extLst>
          </p:cNvPr>
          <p:cNvSpPr>
            <a:spLocks noGrp="1"/>
          </p:cNvSpPr>
          <p:nvPr>
            <p:ph type="title" hasCustomPrompt="1"/>
          </p:nvPr>
        </p:nvSpPr>
        <p:spPr>
          <a:xfrm>
            <a:off x="1130045" y="2499329"/>
            <a:ext cx="3825428" cy="1859342"/>
          </a:xfrm>
        </p:spPr>
        <p:txBody>
          <a:bodyPr anchor="ctr"/>
          <a:lstStyle>
            <a:lvl1pPr>
              <a:lnSpc>
                <a:spcPts val="4000"/>
              </a:lnSpc>
              <a:defRPr>
                <a:solidFill>
                  <a:schemeClr val="bg1"/>
                </a:solidFill>
              </a:defRPr>
            </a:lvl1pPr>
          </a:lstStyle>
          <a:p>
            <a:r>
              <a:rPr lang="da-DK"/>
              <a:t>Indsæt overskrift</a:t>
            </a:r>
          </a:p>
        </p:txBody>
      </p:sp>
      <p:sp>
        <p:nvSpPr>
          <p:cNvPr id="12" name="Text Placeholder 12">
            <a:extLst>
              <a:ext uri="{FF2B5EF4-FFF2-40B4-BE49-F238E27FC236}">
                <a16:creationId xmlns:a16="http://schemas.microsoft.com/office/drawing/2014/main" id="{1DE56DF9-0AA9-9F0E-4B0E-E1B07B573755}"/>
              </a:ext>
            </a:extLst>
          </p:cNvPr>
          <p:cNvSpPr>
            <a:spLocks noGrp="1"/>
          </p:cNvSpPr>
          <p:nvPr>
            <p:ph type="body" sz="quarter" idx="15" hasCustomPrompt="1"/>
          </p:nvPr>
        </p:nvSpPr>
        <p:spPr>
          <a:xfrm>
            <a:off x="7206381" y="855406"/>
            <a:ext cx="3840827" cy="5353665"/>
          </a:xfrm>
        </p:spPr>
        <p:txBody>
          <a:bodyPr anchor="ctr"/>
          <a:lstStyle>
            <a:lvl1pPr marL="0" indent="0">
              <a:lnSpc>
                <a:spcPts val="2200"/>
              </a:lnSpc>
              <a:spcBef>
                <a:spcPts val="0"/>
              </a:spcBef>
              <a:buFont typeface="Arial" panose="020B0604020202020204" pitchFamily="34" charset="0"/>
              <a:buNone/>
              <a:defRPr b="0" i="0">
                <a:solidFill>
                  <a:schemeClr val="bg1"/>
                </a:solidFill>
                <a:latin typeface="Calibri Light" panose="020F0302020204030204" pitchFamily="34" charset="0"/>
                <a:cs typeface="Calibri Light" panose="020F0302020204030204" pitchFamily="34" charset="0"/>
              </a:defRPr>
            </a:lvl1pPr>
            <a:lvl2pPr marL="0" indent="0">
              <a:lnSpc>
                <a:spcPts val="2200"/>
              </a:lnSpc>
              <a:spcBef>
                <a:spcPts val="0"/>
              </a:spcBef>
              <a:buNone/>
              <a:defRPr sz="1800" b="0" i="0">
                <a:solidFill>
                  <a:schemeClr val="bg1"/>
                </a:solidFill>
                <a:latin typeface="Calibri Light" panose="020F0302020204030204" pitchFamily="34" charset="0"/>
                <a:cs typeface="Calibri Light" panose="020F0302020204030204" pitchFamily="34" charset="0"/>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p:txBody>
      </p:sp>
      <p:cxnSp>
        <p:nvCxnSpPr>
          <p:cNvPr id="5" name="Lige forbindelse 4">
            <a:extLst>
              <a:ext uri="{FF2B5EF4-FFF2-40B4-BE49-F238E27FC236}">
                <a16:creationId xmlns:a16="http://schemas.microsoft.com/office/drawing/2014/main" id="{C0AB2A91-9507-15F3-9B29-ADD81A77C812}"/>
              </a:ext>
            </a:extLst>
          </p:cNvPr>
          <p:cNvCxnSpPr/>
          <p:nvPr userDrawn="1"/>
        </p:nvCxnSpPr>
        <p:spPr>
          <a:xfrm>
            <a:off x="6096000" y="899645"/>
            <a:ext cx="0" cy="535366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3" name="Logo">
            <a:extLst>
              <a:ext uri="{FF2B5EF4-FFF2-40B4-BE49-F238E27FC236}">
                <a16:creationId xmlns:a16="http://schemas.microsoft.com/office/drawing/2014/main" id="{EDC474FE-90BF-A30F-8437-E92B5F97CE93}"/>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4" name="Pladsholder til slidenummer 36">
            <a:extLst>
              <a:ext uri="{FF2B5EF4-FFF2-40B4-BE49-F238E27FC236}">
                <a16:creationId xmlns:a16="http://schemas.microsoft.com/office/drawing/2014/main" id="{54C5E4B9-22E6-2A1B-060E-91AD11F11157}"/>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bg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a:p>
        </p:txBody>
      </p:sp>
      <p:sp>
        <p:nvSpPr>
          <p:cNvPr id="6" name="Pladsholder til sidefod 37">
            <a:extLst>
              <a:ext uri="{FF2B5EF4-FFF2-40B4-BE49-F238E27FC236}">
                <a16:creationId xmlns:a16="http://schemas.microsoft.com/office/drawing/2014/main" id="{8A787612-62F0-0787-3679-1C4D7D12C647}"/>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2035480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da-DK" dirty="0"/>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evt. kort understøttende tekst</a:t>
            </a:r>
          </a:p>
        </p:txBody>
      </p:sp>
    </p:spTree>
    <p:extLst>
      <p:ext uri="{BB962C8B-B14F-4D97-AF65-F5344CB8AC3E}">
        <p14:creationId xmlns:p14="http://schemas.microsoft.com/office/powerpoint/2010/main" val="638556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a:t>Træk billede til pladsholder eller klik på symbol for at tilføje billede</a:t>
            </a:r>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dirty="0"/>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dirty="0"/>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da-DK" dirty="0"/>
              <a:t>Indsæt overskrift</a:t>
            </a:r>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brødtekst</a:t>
            </a:r>
          </a:p>
          <a:p>
            <a:pPr lvl="1"/>
            <a:r>
              <a:rPr lang="da-DK" dirty="0"/>
              <a:t>Second </a:t>
            </a:r>
            <a:r>
              <a:rPr lang="da-DK" dirty="0" err="1"/>
              <a:t>level</a:t>
            </a:r>
            <a:endParaRPr lang="da-DK" dirty="0"/>
          </a:p>
        </p:txBody>
      </p:sp>
    </p:spTree>
    <p:extLst>
      <p:ext uri="{BB962C8B-B14F-4D97-AF65-F5344CB8AC3E}">
        <p14:creationId xmlns:p14="http://schemas.microsoft.com/office/powerpoint/2010/main" val="2036239740"/>
      </p:ext>
    </p:extLst>
  </p:cSld>
  <p:clrMapOvr>
    <a:masterClrMapping/>
  </p:clrMapOvr>
  <p:extLst>
    <p:ext uri="{DCECCB84-F9BA-43D5-87BE-67443E8EF086}">
      <p15:sldGuideLst xmlns:p15="http://schemas.microsoft.com/office/powerpoint/2012/main">
        <p15:guide id="1" pos="3568" userDrawn="1">
          <p15:clr>
            <a:srgbClr val="FBAE40"/>
          </p15:clr>
        </p15:guide>
        <p15:guide id="2" pos="3953">
          <p15:clr>
            <a:srgbClr val="FBAE40"/>
          </p15:clr>
        </p15:guide>
        <p15:guide id="3" pos="4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dirty="0"/>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dirty="0"/>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da-DK" dirty="0"/>
              <a:t>Indsæt overskrift</a:t>
            </a:r>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834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dirty="0"/>
              <a:t>Klik for at indsætte tekst</a:t>
            </a:r>
          </a:p>
          <a:p>
            <a:pPr lvl="1"/>
            <a:r>
              <a:rPr lang="da-DK" dirty="0"/>
              <a:t>Second </a:t>
            </a:r>
            <a:r>
              <a:rPr lang="da-DK" dirty="0" err="1"/>
              <a:t>level</a:t>
            </a:r>
            <a:endParaRPr lang="da-DK" dirty="0"/>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dirty="0"/>
              <a:t>Indsæt </a:t>
            </a:r>
            <a:br>
              <a:rPr lang="da-DK" dirty="0"/>
            </a:br>
            <a:r>
              <a:rPr lang="da-DK" dirty="0"/>
              <a:t>overskrift</a:t>
            </a:r>
          </a:p>
        </p:txBody>
      </p:sp>
    </p:spTree>
    <p:extLst>
      <p:ext uri="{BB962C8B-B14F-4D97-AF65-F5344CB8AC3E}">
        <p14:creationId xmlns:p14="http://schemas.microsoft.com/office/powerpoint/2010/main" val="235898540"/>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1.emf"/><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5.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Logo"/>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da-DK"/>
              <a:t>Klik for at redigere i masteren</a:t>
            </a:r>
            <a:endParaRPr lang="en-GB" dirty="0"/>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endParaRPr lang="en-GB" dirty="0"/>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endParaRPr lang="en-GB" dirty="0"/>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657" r:id="rId3"/>
    <p:sldLayoutId id="2147483733" r:id="rId4"/>
    <p:sldLayoutId id="2147483724" r:id="rId5"/>
    <p:sldLayoutId id="2147483728" r:id="rId6"/>
    <p:sldLayoutId id="2147483735" r:id="rId7"/>
    <p:sldLayoutId id="2147483720" r:id="rId8"/>
    <p:sldLayoutId id="2147483729" r:id="rId9"/>
    <p:sldLayoutId id="2147483721" r:id="rId10"/>
    <p:sldLayoutId id="2147483734" r:id="rId11"/>
    <p:sldLayoutId id="2147483726" r:id="rId12"/>
    <p:sldLayoutId id="2147483730" r:id="rId13"/>
    <p:sldLayoutId id="2147483737" r:id="rId14"/>
    <p:sldLayoutId id="2147483738" r:id="rId15"/>
    <p:sldLayoutId id="2147483672" r:id="rId16"/>
    <p:sldLayoutId id="2147483731" r:id="rId17"/>
    <p:sldLayoutId id="2147483732" r:id="rId18"/>
    <p:sldLayoutId id="2147483739" r:id="rId19"/>
    <p:sldLayoutId id="2147483736" r:id="rId20"/>
    <p:sldLayoutId id="2147483723" r:id="rId21"/>
    <p:sldLayoutId id="2147483670" r:id="rId22"/>
    <p:sldLayoutId id="2147483722" r:id="rId23"/>
    <p:sldLayoutId id="2147483740" r:id="rId24"/>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userDrawn="1">
          <p15:clr>
            <a:srgbClr val="F26B43"/>
          </p15:clr>
        </p15:guide>
        <p15:guide id="2" pos="7061" userDrawn="1">
          <p15:clr>
            <a:srgbClr val="F26B43"/>
          </p15:clr>
        </p15:guide>
        <p15:guide id="3" orient="horz" pos="1797" userDrawn="1">
          <p15:clr>
            <a:srgbClr val="F26B43"/>
          </p15:clr>
        </p15:guide>
        <p15:guide id="4" orient="horz" pos="3878" userDrawn="1">
          <p15:clr>
            <a:srgbClr val="F26B43"/>
          </p15:clr>
        </p15:guide>
        <p15:guide id="5" orient="horz" pos="1207" userDrawn="1">
          <p15:clr>
            <a:srgbClr val="F26B43"/>
          </p15:clr>
        </p15:guide>
        <p15:guide id="6" orient="horz" pos="1729" userDrawn="1">
          <p15:clr>
            <a:srgbClr val="F26B43"/>
          </p15:clr>
        </p15:guide>
        <p15:guide id="7" orient="horz" pos="754" userDrawn="1">
          <p15:clr>
            <a:srgbClr val="F26B43"/>
          </p15:clr>
        </p15:guide>
        <p15:guide id="8" orient="horz" pos="127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Logo"/>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da-DK"/>
              <a:t>Klik for at redigere i masteren</a:t>
            </a:r>
            <a:endParaRPr lang="en-GB"/>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endParaRPr lang="en-GB"/>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endParaRPr lang="en-GB"/>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GB" smtClean="0"/>
              <a:pPr/>
              <a:t>‹nr.›</a:t>
            </a:fld>
            <a:endParaRPr lang="en-GB"/>
          </a:p>
        </p:txBody>
      </p:sp>
      <p:sp>
        <p:nvSpPr>
          <p:cNvPr id="8" name="Tekstfelt 7">
            <a:extLst>
              <a:ext uri="{FF2B5EF4-FFF2-40B4-BE49-F238E27FC236}">
                <a16:creationId xmlns:a16="http://schemas.microsoft.com/office/drawing/2014/main" id="{240DB2EF-3220-9612-8E70-A1F3766B2A3A}"/>
              </a:ext>
            </a:extLst>
          </p:cNvPr>
          <p:cNvSpPr txBox="1"/>
          <p:nvPr userDrawn="1">
            <p:extLst>
              <p:ext uri="{1162E1C5-73C7-4A58-AE30-91384D911F3F}">
                <p184:classification xmlns:p184="http://schemas.microsoft.com/office/powerpoint/2018/4/main" val="ftr"/>
              </p:ext>
            </p:extLst>
          </p:nvPr>
        </p:nvSpPr>
        <p:spPr>
          <a:xfrm>
            <a:off x="11206163" y="6687820"/>
            <a:ext cx="942975" cy="106680"/>
          </a:xfrm>
          <a:prstGeom prst="rect">
            <a:avLst/>
          </a:prstGeom>
        </p:spPr>
        <p:txBody>
          <a:bodyPr horzOverflow="overflow" lIns="0" tIns="0" rIns="0" bIns="0">
            <a:spAutoFit/>
          </a:bodyPr>
          <a:lstStyle/>
          <a:p>
            <a:pPr algn="l"/>
            <a:r>
              <a:rPr lang="da-DK" sz="700">
                <a:solidFill>
                  <a:srgbClr val="AAC3C4">
                    <a:alpha val="50000"/>
                  </a:srgbClr>
                </a:solidFill>
                <a:latin typeface="Calibri light" panose="020F0302020204030204" pitchFamily="34" charset="0"/>
                <a:ea typeface="Calibri light" panose="020F0302020204030204" pitchFamily="34" charset="0"/>
                <a:cs typeface="Calibri light" panose="020F0302020204030204" pitchFamily="34" charset="0"/>
              </a:rPr>
              <a:t>Til arbejdsbrug/Restricted</a:t>
            </a:r>
          </a:p>
        </p:txBody>
      </p:sp>
    </p:spTree>
    <p:extLst>
      <p:ext uri="{BB962C8B-B14F-4D97-AF65-F5344CB8AC3E}">
        <p14:creationId xmlns:p14="http://schemas.microsoft.com/office/powerpoint/2010/main" val="12115927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pos="7061">
          <p15:clr>
            <a:srgbClr val="F26B43"/>
          </p15:clr>
        </p15:guide>
        <p15:guide id="3" orient="horz" pos="1797">
          <p15:clr>
            <a:srgbClr val="F26B43"/>
          </p15:clr>
        </p15:guide>
        <p15:guide id="4" orient="horz" pos="3878">
          <p15:clr>
            <a:srgbClr val="F26B43"/>
          </p15:clr>
        </p15:guide>
        <p15:guide id="5" orient="horz" pos="1207">
          <p15:clr>
            <a:srgbClr val="F26B43"/>
          </p15:clr>
        </p15:guide>
        <p15:guide id="6" orient="horz" pos="1729">
          <p15:clr>
            <a:srgbClr val="F26B43"/>
          </p15:clr>
        </p15:guide>
        <p15:guide id="7" orient="horz" pos="754">
          <p15:clr>
            <a:srgbClr val="F26B43"/>
          </p15:clr>
        </p15:guide>
        <p15:guide id="8" orient="horz" pos="127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Pladsholder til titel 1">
            <a:extLst>
              <a:ext uri="{FF2B5EF4-FFF2-40B4-BE49-F238E27FC236}">
                <a16:creationId xmlns:a16="http://schemas.microsoft.com/office/drawing/2014/main" id="{7AF55D74-2186-4EB9-C6BF-B6C34BAEF078}"/>
              </a:ext>
            </a:extLst>
          </p:cNvPr>
          <p:cNvSpPr>
            <a:spLocks noGrp="1"/>
          </p:cNvSpPr>
          <p:nvPr>
            <p:ph type="title"/>
          </p:nvPr>
        </p:nvSpPr>
        <p:spPr>
          <a:xfrm>
            <a:off x="2474478" y="3146286"/>
            <a:ext cx="7243044" cy="1859342"/>
          </a:xfrm>
          <a:prstGeom prst="rect">
            <a:avLst/>
          </a:prstGeom>
        </p:spPr>
        <p:txBody>
          <a:bodyPr vert="horz" lIns="91440" tIns="45720" rIns="91440" bIns="45720" rtlCol="0" anchor="b">
            <a:noAutofit/>
          </a:bodyPr>
          <a:lstStyle/>
          <a:p>
            <a:r>
              <a:rPr lang="da-DK" dirty="0"/>
              <a:t>INDSÆT overskrift </a:t>
            </a:r>
            <a:br>
              <a:rPr lang="da-DK" dirty="0"/>
            </a:br>
            <a:r>
              <a:rPr lang="da-DK" dirty="0"/>
              <a:t>på nyt emne</a:t>
            </a:r>
          </a:p>
        </p:txBody>
      </p:sp>
      <p:sp>
        <p:nvSpPr>
          <p:cNvPr id="21" name="Pladsholder til tekst 2">
            <a:extLst>
              <a:ext uri="{FF2B5EF4-FFF2-40B4-BE49-F238E27FC236}">
                <a16:creationId xmlns:a16="http://schemas.microsoft.com/office/drawing/2014/main" id="{5FE262EC-B7C7-17B6-8571-FB045EF9BC14}"/>
              </a:ext>
            </a:extLst>
          </p:cNvPr>
          <p:cNvSpPr>
            <a:spLocks noGrp="1"/>
          </p:cNvSpPr>
          <p:nvPr>
            <p:ph type="body" idx="1"/>
          </p:nvPr>
        </p:nvSpPr>
        <p:spPr>
          <a:xfrm>
            <a:off x="2474478" y="5005627"/>
            <a:ext cx="7243044" cy="569627"/>
          </a:xfrm>
          <a:prstGeom prst="rect">
            <a:avLst/>
          </a:prstGeom>
        </p:spPr>
        <p:txBody>
          <a:bodyPr vert="horz" lIns="91440" tIns="45720" rIns="91440" bIns="45720" rtlCol="0" anchor="t">
            <a:noAutofit/>
          </a:bodyPr>
          <a:lstStyle/>
          <a:p>
            <a:pPr lvl="0"/>
            <a:r>
              <a:rPr lang="da-DK" dirty="0"/>
              <a:t>Indsæt underoverskrift</a:t>
            </a:r>
          </a:p>
        </p:txBody>
      </p:sp>
      <p:sp>
        <p:nvSpPr>
          <p:cNvPr id="4" name="Pladsholder til slidenummer 36">
            <a:extLst>
              <a:ext uri="{FF2B5EF4-FFF2-40B4-BE49-F238E27FC236}">
                <a16:creationId xmlns:a16="http://schemas.microsoft.com/office/drawing/2014/main" id="{268A49ED-EDBA-EC88-4330-ED4B1A548B6C}"/>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5" name="Pladsholder til sidefod 37">
            <a:extLst>
              <a:ext uri="{FF2B5EF4-FFF2-40B4-BE49-F238E27FC236}">
                <a16:creationId xmlns:a16="http://schemas.microsoft.com/office/drawing/2014/main" id="{B5A6E5C4-3307-E595-0818-D0A13C848BCB}"/>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spTree>
    <p:extLst>
      <p:ext uri="{BB962C8B-B14F-4D97-AF65-F5344CB8AC3E}">
        <p14:creationId xmlns:p14="http://schemas.microsoft.com/office/powerpoint/2010/main" val="899835659"/>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Lst>
  <p:txStyles>
    <p:titleStyle>
      <a:lvl1pPr algn="l" defTabSz="914400" rtl="0" eaLnBrk="1" latinLnBrk="0" hangingPunct="1">
        <a:lnSpc>
          <a:spcPct val="90000"/>
        </a:lnSpc>
        <a:spcBef>
          <a:spcPct val="0"/>
        </a:spcBef>
        <a:buNone/>
        <a:defRPr sz="4000" b="0" i="0" kern="1200" cap="all" baseline="0">
          <a:solidFill>
            <a:schemeClr val="tx1"/>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3" name="Logo">
            <a:extLst>
              <a:ext uri="{FF2B5EF4-FFF2-40B4-BE49-F238E27FC236}">
                <a16:creationId xmlns:a16="http://schemas.microsoft.com/office/drawing/2014/main" id="{8B782A65-6584-989F-E080-952CD68D3F78}"/>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0" name="Pladsholder til titel 1">
            <a:extLst>
              <a:ext uri="{FF2B5EF4-FFF2-40B4-BE49-F238E27FC236}">
                <a16:creationId xmlns:a16="http://schemas.microsoft.com/office/drawing/2014/main" id="{7AF55D74-2186-4EB9-C6BF-B6C34BAEF078}"/>
              </a:ext>
            </a:extLst>
          </p:cNvPr>
          <p:cNvSpPr>
            <a:spLocks noGrp="1"/>
          </p:cNvSpPr>
          <p:nvPr>
            <p:ph type="title"/>
          </p:nvPr>
        </p:nvSpPr>
        <p:spPr>
          <a:xfrm>
            <a:off x="982662" y="1183611"/>
            <a:ext cx="8146589" cy="1145729"/>
          </a:xfrm>
          <a:prstGeom prst="rect">
            <a:avLst/>
          </a:prstGeom>
        </p:spPr>
        <p:txBody>
          <a:bodyPr vert="horz" lIns="91440" tIns="45720" rIns="91440" bIns="45720" rtlCol="0" anchor="b">
            <a:noAutofit/>
          </a:bodyPr>
          <a:lstStyle/>
          <a:p>
            <a:r>
              <a:rPr lang="da-DK" dirty="0"/>
              <a:t>INDSÆT overskrift </a:t>
            </a:r>
          </a:p>
        </p:txBody>
      </p:sp>
      <p:sp>
        <p:nvSpPr>
          <p:cNvPr id="29" name="Pladsholder til tekst 28">
            <a:extLst>
              <a:ext uri="{FF2B5EF4-FFF2-40B4-BE49-F238E27FC236}">
                <a16:creationId xmlns:a16="http://schemas.microsoft.com/office/drawing/2014/main" id="{B84771E5-8766-8148-7BFC-5ECED03BA5D2}"/>
              </a:ext>
            </a:extLst>
          </p:cNvPr>
          <p:cNvSpPr>
            <a:spLocks noGrp="1"/>
          </p:cNvSpPr>
          <p:nvPr>
            <p:ph type="body" idx="1"/>
          </p:nvPr>
        </p:nvSpPr>
        <p:spPr>
          <a:xfrm>
            <a:off x="982662" y="2912972"/>
            <a:ext cx="8146589" cy="2291339"/>
          </a:xfrm>
          <a:prstGeom prst="rect">
            <a:avLst/>
          </a:prstGeom>
        </p:spPr>
        <p:txBody>
          <a:bodyPr vert="horz" lIns="91440" tIns="45720" rIns="91440" bIns="4572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lidenummer 36">
            <a:extLst>
              <a:ext uri="{FF2B5EF4-FFF2-40B4-BE49-F238E27FC236}">
                <a16:creationId xmlns:a16="http://schemas.microsoft.com/office/drawing/2014/main" id="{1D44B452-94D5-C645-CEB8-63FCF1A879DB}"/>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5"/>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dirty="0"/>
          </a:p>
        </p:txBody>
      </p:sp>
      <p:sp>
        <p:nvSpPr>
          <p:cNvPr id="8" name="Pladsholder til sidefod 37">
            <a:extLst>
              <a:ext uri="{FF2B5EF4-FFF2-40B4-BE49-F238E27FC236}">
                <a16:creationId xmlns:a16="http://schemas.microsoft.com/office/drawing/2014/main" id="{52D692BA-AB32-9E58-B2CB-F2D867343C26}"/>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dirty="0"/>
              <a:t>Dok. </a:t>
            </a:r>
            <a:r>
              <a:rPr lang="da-DK" dirty="0" err="1"/>
              <a:t>nr</a:t>
            </a:r>
            <a:endParaRPr lang="da-DK" dirty="0"/>
          </a:p>
        </p:txBody>
      </p:sp>
    </p:spTree>
    <p:extLst>
      <p:ext uri="{BB962C8B-B14F-4D97-AF65-F5344CB8AC3E}">
        <p14:creationId xmlns:p14="http://schemas.microsoft.com/office/powerpoint/2010/main" val="24410637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Lst>
  <p:txStyles>
    <p:titleStyle>
      <a:lvl1pPr algn="l" defTabSz="914400" rtl="0" eaLnBrk="1" latinLnBrk="0" hangingPunct="1">
        <a:lnSpc>
          <a:spcPts val="4000"/>
        </a:lnSpc>
        <a:spcBef>
          <a:spcPct val="0"/>
        </a:spcBef>
        <a:buNone/>
        <a:defRPr sz="4000" b="0" i="0" kern="1200" cap="all" baseline="0">
          <a:solidFill>
            <a:schemeClr val="accent1"/>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ts val="2200"/>
        </a:lnSpc>
        <a:spcBef>
          <a:spcPts val="0"/>
        </a:spcBef>
        <a:buFont typeface="Arial" panose="020B0604020202020204" pitchFamily="34" charset="0"/>
        <a:buNone/>
        <a:defRPr sz="2000" b="0" i="0" kern="1200">
          <a:solidFill>
            <a:schemeClr val="tx1">
              <a:lumMod val="75000"/>
              <a:lumOff val="25000"/>
            </a:schemeClr>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ts val="2000"/>
        </a:lnSpc>
        <a:spcBef>
          <a:spcPts val="0"/>
        </a:spcBef>
        <a:buFont typeface="Arial" panose="020B0604020202020204" pitchFamily="34" charset="0"/>
        <a:buChar char="•"/>
        <a:defRPr sz="1800" b="0" i="0" kern="1200">
          <a:solidFill>
            <a:schemeClr val="tx1">
              <a:lumMod val="75000"/>
              <a:lumOff val="25000"/>
            </a:schemeClr>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ts val="1900"/>
        </a:lnSpc>
        <a:spcBef>
          <a:spcPts val="0"/>
        </a:spcBef>
        <a:buFont typeface="Arial" panose="020B0604020202020204" pitchFamily="34" charset="0"/>
        <a:buChar char="•"/>
        <a:defRPr sz="1600" b="0" i="0" kern="1200">
          <a:solidFill>
            <a:schemeClr val="tx1">
              <a:lumMod val="75000"/>
              <a:lumOff val="25000"/>
            </a:schemeClr>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ts val="1900"/>
        </a:lnSpc>
        <a:spcBef>
          <a:spcPts val="0"/>
        </a:spcBef>
        <a:buFont typeface="Arial" panose="020B0604020202020204" pitchFamily="34" charset="0"/>
        <a:buChar char="•"/>
        <a:defRPr sz="1600" b="0" i="0" kern="1200">
          <a:solidFill>
            <a:schemeClr val="tx1">
              <a:lumMod val="75000"/>
              <a:lumOff val="25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ts val="1900"/>
        </a:lnSpc>
        <a:spcBef>
          <a:spcPts val="0"/>
        </a:spcBef>
        <a:buFont typeface="Arial" panose="020B0604020202020204" pitchFamily="34" charset="0"/>
        <a:buChar char="•"/>
        <a:defRPr sz="1600" b="0" i="0" kern="1200">
          <a:solidFill>
            <a:schemeClr val="tx1">
              <a:lumMod val="75000"/>
              <a:lumOff val="2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6B3DD316-B3DE-00AB-F5BD-70E4D72280B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5" name="Pladsholder til slidenummer 36">
            <a:extLst>
              <a:ext uri="{FF2B5EF4-FFF2-40B4-BE49-F238E27FC236}">
                <a16:creationId xmlns:a16="http://schemas.microsoft.com/office/drawing/2014/main" id="{D78675CE-54C5-4AD2-9D39-E67676B52743}"/>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5"/>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nr.›</a:t>
            </a:fld>
            <a:endParaRPr lang="da-DK"/>
          </a:p>
        </p:txBody>
      </p:sp>
      <p:sp>
        <p:nvSpPr>
          <p:cNvPr id="17" name="Pladsholder til sidefod 37">
            <a:extLst>
              <a:ext uri="{FF2B5EF4-FFF2-40B4-BE49-F238E27FC236}">
                <a16:creationId xmlns:a16="http://schemas.microsoft.com/office/drawing/2014/main" id="{7873A8B0-4356-14DC-9309-0D4430BDC7A5}"/>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414508476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xStyles>
    <p:titleStyle>
      <a:lvl1pPr algn="l" defTabSz="914400" rtl="0" eaLnBrk="1" latinLnBrk="0" hangingPunct="1">
        <a:lnSpc>
          <a:spcPct val="90000"/>
        </a:lnSpc>
        <a:spcBef>
          <a:spcPct val="0"/>
        </a:spcBef>
        <a:buNone/>
        <a:defRPr sz="7500" b="0" i="0" kern="1200" cap="all" baseline="0">
          <a:solidFill>
            <a:schemeClr val="accent1"/>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lnSpc>
          <a:spcPct val="90000"/>
        </a:lnSpc>
        <a:spcBef>
          <a:spcPts val="1000"/>
        </a:spcBef>
        <a:buFontTx/>
        <a:buNone/>
        <a:defRPr lang="da-DK" sz="2500" b="0" i="0" kern="1200" dirty="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800" b="0" i="0" kern="1200" spc="0" baseline="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2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7.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36.png"/><Relationship Id="rId18"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diagramLayout" Target="../diagrams/layout1.xml"/><Relationship Id="rId12" Type="http://schemas.openxmlformats.org/officeDocument/2006/relationships/image" Target="../media/image35.png"/><Relationship Id="rId17" Type="http://schemas.openxmlformats.org/officeDocument/2006/relationships/image" Target="../media/image1.emf"/><Relationship Id="rId2" Type="http://schemas.openxmlformats.org/officeDocument/2006/relationships/notesSlide" Target="../notesSlides/notesSlide2.xml"/><Relationship Id="rId16" Type="http://schemas.openxmlformats.org/officeDocument/2006/relationships/image" Target="../media/image39.png"/><Relationship Id="rId1" Type="http://schemas.openxmlformats.org/officeDocument/2006/relationships/slideLayout" Target="../slideLayouts/slideLayout26.xml"/><Relationship Id="rId6" Type="http://schemas.openxmlformats.org/officeDocument/2006/relationships/diagramData" Target="../diagrams/data1.xml"/><Relationship Id="rId11" Type="http://schemas.openxmlformats.org/officeDocument/2006/relationships/image" Target="../media/image34.png"/><Relationship Id="rId5" Type="http://schemas.openxmlformats.org/officeDocument/2006/relationships/image" Target="../media/image33.png"/><Relationship Id="rId15" Type="http://schemas.openxmlformats.org/officeDocument/2006/relationships/image" Target="../media/image38.png"/><Relationship Id="rId10" Type="http://schemas.microsoft.com/office/2007/relationships/diagramDrawing" Target="../diagrams/drawing1.xml"/><Relationship Id="rId19" Type="http://schemas.openxmlformats.org/officeDocument/2006/relationships/image" Target="../media/image41.png"/><Relationship Id="rId4" Type="http://schemas.microsoft.com/office/2007/relationships/hdphoto" Target="../media/hdphoto2.wdp"/><Relationship Id="rId9" Type="http://schemas.openxmlformats.org/officeDocument/2006/relationships/diagramColors" Target="../diagrams/colors1.xm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1.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0.png"/><Relationship Id="rId3" Type="http://schemas.openxmlformats.org/officeDocument/2006/relationships/image" Target="../media/image34.png"/><Relationship Id="rId7" Type="http://schemas.openxmlformats.org/officeDocument/2006/relationships/image" Target="../media/image45.png"/><Relationship Id="rId12"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38.png"/><Relationship Id="rId11" Type="http://schemas.openxmlformats.org/officeDocument/2006/relationships/image" Target="../media/image48.png"/><Relationship Id="rId5" Type="http://schemas.openxmlformats.org/officeDocument/2006/relationships/image" Target="../media/image35.png"/><Relationship Id="rId10" Type="http://schemas.openxmlformats.org/officeDocument/2006/relationships/image" Target="../media/image47.png"/><Relationship Id="rId4" Type="http://schemas.openxmlformats.org/officeDocument/2006/relationships/image" Target="../media/image44.png"/><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5.xml"/><Relationship Id="rId1" Type="http://schemas.openxmlformats.org/officeDocument/2006/relationships/slideLayout" Target="../slideLayouts/slideLayout60.xml"/><Relationship Id="rId4" Type="http://schemas.openxmlformats.org/officeDocument/2006/relationships/image" Target="../media/image52.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dsholder til billede 8">
            <a:extLst>
              <a:ext uri="{FF2B5EF4-FFF2-40B4-BE49-F238E27FC236}">
                <a16:creationId xmlns:a16="http://schemas.microsoft.com/office/drawing/2014/main" id="{4A516E96-E9C2-C1B7-7B7B-29B8A0C5AD7A}"/>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11200"/>
                    </a14:imgEffect>
                  </a14:imgLayer>
                </a14:imgProps>
              </a:ext>
            </a:extLst>
          </a:blip>
          <a:srcRect t="8019" b="8019"/>
          <a:stretch>
            <a:fillRect/>
          </a:stretch>
        </p:blipFill>
        <p:spPr>
          <a:xfrm>
            <a:off x="0" y="0"/>
            <a:ext cx="12196800" cy="6861600"/>
          </a:xfrm>
          <a:prstGeom prst="rect">
            <a:avLst/>
          </a:prstGeom>
        </p:spPr>
      </p:pic>
      <p:sp>
        <p:nvSpPr>
          <p:cNvPr id="4" name="Rektangel 3">
            <a:extLst>
              <a:ext uri="{FF2B5EF4-FFF2-40B4-BE49-F238E27FC236}">
                <a16:creationId xmlns:a16="http://schemas.microsoft.com/office/drawing/2014/main" id="{4C761144-A657-0053-237A-65CB747C3E2C}"/>
              </a:ext>
            </a:extLst>
          </p:cNvPr>
          <p:cNvSpPr/>
          <p:nvPr/>
        </p:nvSpPr>
        <p:spPr>
          <a:xfrm>
            <a:off x="0" y="0"/>
            <a:ext cx="12192000" cy="6858000"/>
          </a:xfrm>
          <a:prstGeom prst="rect">
            <a:avLst/>
          </a:prstGeom>
          <a:solidFill>
            <a:schemeClr val="accent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a:ln>
                <a:noFill/>
              </a:ln>
              <a:solidFill>
                <a:srgbClr val="FFFFFF"/>
              </a:solidFill>
              <a:effectLst/>
              <a:uLnTx/>
              <a:uFillTx/>
              <a:latin typeface="Calibri Light"/>
              <a:ea typeface="+mn-ea"/>
              <a:cs typeface="+mn-cs"/>
            </a:endParaRPr>
          </a:p>
        </p:txBody>
      </p:sp>
      <p:sp>
        <p:nvSpPr>
          <p:cNvPr id="5" name="Title 4">
            <a:extLst>
              <a:ext uri="{FF2B5EF4-FFF2-40B4-BE49-F238E27FC236}">
                <a16:creationId xmlns:a16="http://schemas.microsoft.com/office/drawing/2014/main" id="{B05734B9-052A-6FB9-171A-E1D4C053B240}"/>
              </a:ext>
            </a:extLst>
          </p:cNvPr>
          <p:cNvSpPr>
            <a:spLocks noGrp="1"/>
          </p:cNvSpPr>
          <p:nvPr>
            <p:ph type="ctrTitle"/>
          </p:nvPr>
        </p:nvSpPr>
        <p:spPr>
          <a:xfrm>
            <a:off x="2352657" y="3484916"/>
            <a:ext cx="7491487" cy="1846264"/>
          </a:xfrm>
        </p:spPr>
        <p:txBody>
          <a:bodyPr/>
          <a:lstStyle/>
          <a:p>
            <a:r>
              <a:rPr lang="en-US" b="1" dirty="0">
                <a:solidFill>
                  <a:schemeClr val="bg1"/>
                </a:solidFill>
              </a:rPr>
              <a:t>Running a high wind energy electric system </a:t>
            </a:r>
            <a:br>
              <a:rPr lang="en-US" b="1" dirty="0">
                <a:solidFill>
                  <a:schemeClr val="bg1"/>
                </a:solidFill>
              </a:rPr>
            </a:br>
            <a:r>
              <a:rPr lang="en-US" b="1" dirty="0">
                <a:solidFill>
                  <a:schemeClr val="bg1"/>
                </a:solidFill>
              </a:rPr>
              <a:t>in a secure way</a:t>
            </a:r>
            <a:endParaRPr lang="da-DK" dirty="0">
              <a:solidFill>
                <a:schemeClr val="bg1"/>
              </a:solidFill>
            </a:endParaRPr>
          </a:p>
        </p:txBody>
      </p:sp>
      <p:sp>
        <p:nvSpPr>
          <p:cNvPr id="7" name="Text Placeholder 6">
            <a:extLst>
              <a:ext uri="{FF2B5EF4-FFF2-40B4-BE49-F238E27FC236}">
                <a16:creationId xmlns:a16="http://schemas.microsoft.com/office/drawing/2014/main" id="{F1816751-4E1F-42A6-7008-FD1919C20C4C}"/>
              </a:ext>
            </a:extLst>
          </p:cNvPr>
          <p:cNvSpPr>
            <a:spLocks noGrp="1"/>
          </p:cNvSpPr>
          <p:nvPr>
            <p:ph type="body" sz="quarter" idx="13"/>
          </p:nvPr>
        </p:nvSpPr>
        <p:spPr>
          <a:xfrm>
            <a:off x="2352392" y="5807208"/>
            <a:ext cx="7492016" cy="458788"/>
          </a:xfrm>
        </p:spPr>
        <p:txBody>
          <a:bodyPr/>
          <a:lstStyle/>
          <a:p>
            <a:r>
              <a:rPr lang="da-DK" sz="2000" i="0" dirty="0">
                <a:solidFill>
                  <a:schemeClr val="bg1"/>
                </a:solidFill>
              </a:rPr>
              <a:t>KLAUS WINTHER</a:t>
            </a:r>
          </a:p>
          <a:p>
            <a:r>
              <a:rPr lang="da-DK" sz="2000" i="0" dirty="0">
                <a:solidFill>
                  <a:schemeClr val="bg1"/>
                </a:solidFill>
              </a:rPr>
              <a:t>VICE PRESIDENT SYSTEM OPERATION, ENERGINET</a:t>
            </a:r>
          </a:p>
        </p:txBody>
      </p:sp>
      <p:pic>
        <p:nvPicPr>
          <p:cNvPr id="3" name="Logo">
            <a:extLst>
              <a:ext uri="{FF2B5EF4-FFF2-40B4-BE49-F238E27FC236}">
                <a16:creationId xmlns:a16="http://schemas.microsoft.com/office/drawing/2014/main" id="{278F84E6-7FC4-CE14-4E4F-E9ADEB3113D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2681142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B2CB3BF1-44C4-F633-E961-8CFF62E4C3C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237A293-3A3B-8894-B203-1187FF30137C}"/>
              </a:ext>
            </a:extLst>
          </p:cNvPr>
          <p:cNvSpPr/>
          <p:nvPr/>
        </p:nvSpPr>
        <p:spPr>
          <a:xfrm>
            <a:off x="0" y="0"/>
            <a:ext cx="12192000" cy="685800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4">
            <a:extLst>
              <a:ext uri="{FF2B5EF4-FFF2-40B4-BE49-F238E27FC236}">
                <a16:creationId xmlns:a16="http://schemas.microsoft.com/office/drawing/2014/main" id="{F0FF447D-C29C-809D-E010-1BD66C741734}"/>
              </a:ext>
            </a:extLst>
          </p:cNvPr>
          <p:cNvSpPr txBox="1"/>
          <p:nvPr/>
        </p:nvSpPr>
        <p:spPr>
          <a:xfrm>
            <a:off x="7207739" y="1496032"/>
            <a:ext cx="4871378" cy="3170099"/>
          </a:xfrm>
          <a:prstGeom prst="rect">
            <a:avLst/>
          </a:prstGeom>
          <a:noFill/>
        </p:spPr>
        <p:txBody>
          <a:bodyPr wrap="square">
            <a:spAutoFit/>
          </a:bodyPr>
          <a:lstStyle>
            <a:defPPr>
              <a:defRPr lang="da-DK"/>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400" dirty="0">
                <a:solidFill>
                  <a:srgbClr val="FFD424"/>
                </a:solidFill>
                <a:latin typeface="Calibri" panose="020F0502020204030204"/>
              </a:rPr>
              <a:t>ELECTRIFICATION</a:t>
            </a:r>
            <a:r>
              <a:rPr kumimoji="0" lang="da-DK" sz="2400" b="0" i="0" u="none" strike="noStrike" kern="1200" cap="none" spc="0" normalizeH="0" baseline="0" noProof="0" dirty="0">
                <a:ln>
                  <a:noFill/>
                </a:ln>
                <a:solidFill>
                  <a:srgbClr val="FFFFFF"/>
                </a:solidFill>
                <a:effectLst/>
                <a:uLnTx/>
                <a:uFillTx/>
                <a:latin typeface="Calibri" panose="020F0502020204030204"/>
                <a:ea typeface="+mn-ea"/>
                <a:cs typeface="+mn-cs"/>
              </a:rPr>
              <a:t> MUST MAINTAIN MOMENTUM IN THE GREEN TRANSISIONT</a:t>
            </a:r>
            <a:endParaRPr kumimoji="0" lang="da-DK" sz="12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lvl="0">
              <a:defRPr/>
            </a:pPr>
            <a:r>
              <a:rPr lang="en-US" sz="1600" dirty="0">
                <a:solidFill>
                  <a:srgbClr val="FFFFFF"/>
                </a:solidFill>
                <a:latin typeface="Calibri" panose="020F0502020204030204"/>
              </a:rPr>
              <a:t>Since 2010, electricity generation from wind and solar has more than tripled, while electricity consumption has remained largely unchanged. An increase in flexible electricity consumption will enable continued expansion of renewable energy and is crucial for an efficient and affordable green transition – without compromising Denmark’s high level of supply security.</a:t>
            </a:r>
            <a:endParaRPr kumimoji="0" lang="da-DK"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10" name="Diagram 9">
            <a:extLst>
              <a:ext uri="{FF2B5EF4-FFF2-40B4-BE49-F238E27FC236}">
                <a16:creationId xmlns:a16="http://schemas.microsoft.com/office/drawing/2014/main" id="{66E1630E-555E-48A0-9E56-D354FF47E32F}"/>
              </a:ext>
            </a:extLst>
          </p:cNvPr>
          <p:cNvGraphicFramePr>
            <a:graphicFrameLocks/>
          </p:cNvGraphicFramePr>
          <p:nvPr>
            <p:extLst>
              <p:ext uri="{D42A27DB-BD31-4B8C-83A1-F6EECF244321}">
                <p14:modId xmlns:p14="http://schemas.microsoft.com/office/powerpoint/2010/main" val="3416549889"/>
              </p:ext>
            </p:extLst>
          </p:nvPr>
        </p:nvGraphicFramePr>
        <p:xfrm>
          <a:off x="1015856" y="977900"/>
          <a:ext cx="5931044" cy="48641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kstfelt 11">
            <a:extLst>
              <a:ext uri="{FF2B5EF4-FFF2-40B4-BE49-F238E27FC236}">
                <a16:creationId xmlns:a16="http://schemas.microsoft.com/office/drawing/2014/main" id="{6D0343B8-CEB2-48A4-4945-80E6EA944BB9}"/>
              </a:ext>
            </a:extLst>
          </p:cNvPr>
          <p:cNvSpPr txBox="1"/>
          <p:nvPr/>
        </p:nvSpPr>
        <p:spPr>
          <a:xfrm>
            <a:off x="1098551" y="6261100"/>
            <a:ext cx="39624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Calibri" panose="020F0502020204030204"/>
                <a:ea typeface="+mn-ea"/>
                <a:cs typeface="+mn-cs"/>
              </a:rPr>
              <a:t>Kilde: </a:t>
            </a:r>
            <a:r>
              <a:rPr kumimoji="0" lang="da-DK" sz="900" b="0" i="0" u="none" strike="noStrike" kern="1200" cap="none" spc="0" normalizeH="0" baseline="0" noProof="0" dirty="0" err="1">
                <a:ln>
                  <a:noFill/>
                </a:ln>
                <a:solidFill>
                  <a:srgbClr val="FFFFFF"/>
                </a:solidFill>
                <a:effectLst/>
                <a:uLnTx/>
                <a:uFillTx/>
                <a:latin typeface="Calibri" panose="020F0502020204030204"/>
                <a:ea typeface="+mn-ea"/>
                <a:cs typeface="+mn-cs"/>
              </a:rPr>
              <a:t>Energinets</a:t>
            </a:r>
            <a:r>
              <a:rPr kumimoji="0" lang="da-DK" sz="900" b="0" i="0" u="none" strike="noStrike" kern="1200" cap="none" spc="0" normalizeH="0" baseline="0" noProof="0" dirty="0">
                <a:ln>
                  <a:noFill/>
                </a:ln>
                <a:solidFill>
                  <a:srgbClr val="FFFFFF"/>
                </a:solidFill>
                <a:effectLst/>
                <a:uLnTx/>
                <a:uFillTx/>
                <a:latin typeface="Calibri" panose="020F0502020204030204"/>
                <a:ea typeface="+mn-ea"/>
                <a:cs typeface="+mn-cs"/>
              </a:rPr>
              <a:t> Miljøberetning 2024. Indekstal, hvor 2010 = 100</a:t>
            </a:r>
          </a:p>
        </p:txBody>
      </p:sp>
      <p:sp>
        <p:nvSpPr>
          <p:cNvPr id="2" name="Tekstfelt 1">
            <a:extLst>
              <a:ext uri="{FF2B5EF4-FFF2-40B4-BE49-F238E27FC236}">
                <a16:creationId xmlns:a16="http://schemas.microsoft.com/office/drawing/2014/main" id="{652A9340-A450-7EF8-051F-0BEBB576510F}"/>
              </a:ext>
            </a:extLst>
          </p:cNvPr>
          <p:cNvSpPr txBox="1"/>
          <p:nvPr/>
        </p:nvSpPr>
        <p:spPr>
          <a:xfrm>
            <a:off x="1005808" y="747068"/>
            <a:ext cx="39624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FFFFFF"/>
                </a:solidFill>
                <a:effectLst/>
                <a:uLnTx/>
                <a:uFillTx/>
                <a:latin typeface="Calibri" panose="020F0502020204030204"/>
                <a:ea typeface="+mn-ea"/>
                <a:cs typeface="+mn-cs"/>
              </a:rPr>
              <a:t>Index, 2010 = 100</a:t>
            </a:r>
          </a:p>
        </p:txBody>
      </p:sp>
      <p:pic>
        <p:nvPicPr>
          <p:cNvPr id="5" name="Logo">
            <a:extLst>
              <a:ext uri="{FF2B5EF4-FFF2-40B4-BE49-F238E27FC236}">
                <a16:creationId xmlns:a16="http://schemas.microsoft.com/office/drawing/2014/main" id="{214BE176-BEC2-BDBE-8EE7-63C2DDA038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6" name="Rektangel 5">
            <a:extLst>
              <a:ext uri="{FF2B5EF4-FFF2-40B4-BE49-F238E27FC236}">
                <a16:creationId xmlns:a16="http://schemas.microsoft.com/office/drawing/2014/main" id="{D3208E70-0FF7-BB36-8D9E-EE8BACA6A0A4}"/>
              </a:ext>
            </a:extLst>
          </p:cNvPr>
          <p:cNvSpPr/>
          <p:nvPr/>
        </p:nvSpPr>
        <p:spPr>
          <a:xfrm>
            <a:off x="3464358" y="5935018"/>
            <a:ext cx="700143" cy="23083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700" b="1" dirty="0" err="1"/>
              <a:t>Electricity</a:t>
            </a:r>
            <a:r>
              <a:rPr lang="da-DK" sz="700" b="1" dirty="0"/>
              <a:t> </a:t>
            </a:r>
            <a:r>
              <a:rPr lang="da-DK" sz="700" b="1" dirty="0" err="1"/>
              <a:t>consumption</a:t>
            </a:r>
            <a:endParaRPr lang="da-DK" sz="700" b="1" dirty="0"/>
          </a:p>
        </p:txBody>
      </p:sp>
      <p:sp>
        <p:nvSpPr>
          <p:cNvPr id="7" name="Rektangel 6">
            <a:extLst>
              <a:ext uri="{FF2B5EF4-FFF2-40B4-BE49-F238E27FC236}">
                <a16:creationId xmlns:a16="http://schemas.microsoft.com/office/drawing/2014/main" id="{7B56A4D8-D529-783A-E891-7C532A54A587}"/>
              </a:ext>
            </a:extLst>
          </p:cNvPr>
          <p:cNvSpPr/>
          <p:nvPr/>
        </p:nvSpPr>
        <p:spPr>
          <a:xfrm>
            <a:off x="4339558" y="5935018"/>
            <a:ext cx="965200" cy="23083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700" b="1" dirty="0" err="1"/>
              <a:t>Renewable</a:t>
            </a:r>
            <a:br>
              <a:rPr lang="da-DK" sz="700" b="1" dirty="0"/>
            </a:br>
            <a:r>
              <a:rPr lang="da-DK" sz="700" b="1" dirty="0" err="1"/>
              <a:t>production</a:t>
            </a:r>
            <a:endParaRPr lang="da-DK" sz="700" b="1" dirty="0"/>
          </a:p>
        </p:txBody>
      </p:sp>
      <p:cxnSp>
        <p:nvCxnSpPr>
          <p:cNvPr id="9" name="Lige forbindelse 8">
            <a:extLst>
              <a:ext uri="{FF2B5EF4-FFF2-40B4-BE49-F238E27FC236}">
                <a16:creationId xmlns:a16="http://schemas.microsoft.com/office/drawing/2014/main" id="{0B35293D-88AD-4EEA-DE97-2037AC7FD0D0}"/>
              </a:ext>
            </a:extLst>
          </p:cNvPr>
          <p:cNvCxnSpPr/>
          <p:nvPr/>
        </p:nvCxnSpPr>
        <p:spPr>
          <a:xfrm>
            <a:off x="3109301" y="6050434"/>
            <a:ext cx="360000" cy="0"/>
          </a:xfrm>
          <a:prstGeom prst="line">
            <a:avLst/>
          </a:prstGeom>
          <a:ln w="285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1" name="Lige forbindelse 10">
            <a:extLst>
              <a:ext uri="{FF2B5EF4-FFF2-40B4-BE49-F238E27FC236}">
                <a16:creationId xmlns:a16="http://schemas.microsoft.com/office/drawing/2014/main" id="{290F39E7-813C-5F13-433A-A4A532A4A016}"/>
              </a:ext>
            </a:extLst>
          </p:cNvPr>
          <p:cNvCxnSpPr/>
          <p:nvPr/>
        </p:nvCxnSpPr>
        <p:spPr>
          <a:xfrm>
            <a:off x="4178608" y="6049318"/>
            <a:ext cx="360000" cy="0"/>
          </a:xfrm>
          <a:prstGeom prst="line">
            <a:avLst/>
          </a:prstGeom>
          <a:ln w="28575">
            <a:solidFill>
              <a:schemeClr val="accent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2846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graphicEl>
                                              <a:chart seriesIdx="-3" categoryIdx="-3" bldStep="gridLegend"/>
                                            </p:graphicEl>
                                          </p:spTgt>
                                        </p:tgtEl>
                                        <p:attrNameLst>
                                          <p:attrName>style.visibility</p:attrName>
                                        </p:attrNameLst>
                                      </p:cBhvr>
                                      <p:to>
                                        <p:strVal val="visible"/>
                                      </p:to>
                                    </p:set>
                                    <p:animEffect transition="in" filter="wipe(left)">
                                      <p:cBhvr>
                                        <p:cTn id="7" dur="5000"/>
                                        <p:tgtEl>
                                          <p:spTgt spid="10">
                                            <p:graphicEl>
                                              <a:chart seriesIdx="-3" categoryIdx="-3" bldStep="gridLegend"/>
                                            </p:graphic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
                                            <p:graphicEl>
                                              <a:chart seriesIdx="0" categoryIdx="-4" bldStep="series"/>
                                            </p:graphicEl>
                                          </p:spTgt>
                                        </p:tgtEl>
                                        <p:attrNameLst>
                                          <p:attrName>style.visibility</p:attrName>
                                        </p:attrNameLst>
                                      </p:cBhvr>
                                      <p:to>
                                        <p:strVal val="visible"/>
                                      </p:to>
                                    </p:set>
                                    <p:animEffect transition="in" filter="wipe(left)">
                                      <p:cBhvr>
                                        <p:cTn id="10" dur="5000"/>
                                        <p:tgtEl>
                                          <p:spTgt spid="10">
                                            <p:graphicEl>
                                              <a:chart seriesIdx="0" categoryIdx="-4" bldStep="series"/>
                                            </p:graphic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0">
                                            <p:graphicEl>
                                              <a:chart seriesIdx="1" categoryIdx="-4" bldStep="series"/>
                                            </p:graphicEl>
                                          </p:spTgt>
                                        </p:tgtEl>
                                        <p:attrNameLst>
                                          <p:attrName>style.visibility</p:attrName>
                                        </p:attrNameLst>
                                      </p:cBhvr>
                                      <p:to>
                                        <p:strVal val="visible"/>
                                      </p:to>
                                    </p:set>
                                    <p:animEffect transition="in" filter="wipe(left)">
                                      <p:cBhvr>
                                        <p:cTn id="13" dur="5000"/>
                                        <p:tgtEl>
                                          <p:spTgt spid="10">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Chart bld="series"/>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lede 23" descr="Et billede, der indeholder græs, udendørs, sky, træ&#10;&#10;Automatisk genereret beskrivelse">
            <a:extLst>
              <a:ext uri="{FF2B5EF4-FFF2-40B4-BE49-F238E27FC236}">
                <a16:creationId xmlns:a16="http://schemas.microsoft.com/office/drawing/2014/main" id="{13F8A8A4-B9F7-A3A0-7169-7AFEDE7A0358}"/>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flipH="1">
            <a:off x="-8115" y="-1"/>
            <a:ext cx="12191999" cy="6857999"/>
          </a:xfrm>
          <a:prstGeom prst="rect">
            <a:avLst/>
          </a:prstGeom>
        </p:spPr>
      </p:pic>
      <p:sp>
        <p:nvSpPr>
          <p:cNvPr id="19" name="Rektangel 18">
            <a:extLst>
              <a:ext uri="{FF2B5EF4-FFF2-40B4-BE49-F238E27FC236}">
                <a16:creationId xmlns:a16="http://schemas.microsoft.com/office/drawing/2014/main" id="{08406C98-AE29-4AA1-3D09-2BBDD4C51764}"/>
              </a:ext>
            </a:extLst>
          </p:cNvPr>
          <p:cNvSpPr/>
          <p:nvPr/>
        </p:nvSpPr>
        <p:spPr>
          <a:xfrm>
            <a:off x="0" y="0"/>
            <a:ext cx="3638145" cy="685800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a:ln>
                <a:noFill/>
              </a:ln>
              <a:solidFill>
                <a:srgbClr val="FFFFFF"/>
              </a:solidFill>
              <a:effectLst/>
              <a:uLnTx/>
              <a:uFillTx/>
              <a:latin typeface="Calibri Light"/>
              <a:ea typeface="+mn-ea"/>
              <a:cs typeface="+mn-cs"/>
            </a:endParaRPr>
          </a:p>
        </p:txBody>
      </p:sp>
      <p:sp>
        <p:nvSpPr>
          <p:cNvPr id="5" name="Pladsholder til sidefod 4">
            <a:extLst>
              <a:ext uri="{FF2B5EF4-FFF2-40B4-BE49-F238E27FC236}">
                <a16:creationId xmlns:a16="http://schemas.microsoft.com/office/drawing/2014/main" id="{537550F7-2BD2-A7DD-433B-8E83C771C8F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50" b="0" i="0" u="none" strike="noStrike" kern="1200" cap="none" spc="0" normalizeH="0" baseline="0" noProof="0" dirty="0">
              <a:ln>
                <a:noFill/>
              </a:ln>
              <a:solidFill>
                <a:srgbClr val="A0C1C2"/>
              </a:solidFill>
              <a:effectLst/>
              <a:uLnTx/>
              <a:uFillTx/>
              <a:latin typeface="Calibri Light"/>
              <a:ea typeface="+mn-ea"/>
              <a:cs typeface="+mn-cs"/>
            </a:endParaRPr>
          </a:p>
        </p:txBody>
      </p:sp>
      <p:sp>
        <p:nvSpPr>
          <p:cNvPr id="31" name="Rektangel 30">
            <a:extLst>
              <a:ext uri="{FF2B5EF4-FFF2-40B4-BE49-F238E27FC236}">
                <a16:creationId xmlns:a16="http://schemas.microsoft.com/office/drawing/2014/main" id="{177CB3CC-9FF3-2D0D-8000-088F44545414}"/>
              </a:ext>
            </a:extLst>
          </p:cNvPr>
          <p:cNvSpPr/>
          <p:nvPr/>
        </p:nvSpPr>
        <p:spPr>
          <a:xfrm>
            <a:off x="-8800" y="0"/>
            <a:ext cx="12200800" cy="6858000"/>
          </a:xfrm>
          <a:prstGeom prst="rect">
            <a:avLst/>
          </a:prstGeom>
          <a:solidFill>
            <a:schemeClr val="accent2">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a:ln>
                <a:noFill/>
              </a:ln>
              <a:solidFill>
                <a:srgbClr val="FFFFFF"/>
              </a:solidFill>
              <a:effectLst/>
              <a:uLnTx/>
              <a:uFillTx/>
              <a:latin typeface="Calibri Light"/>
              <a:ea typeface="+mn-ea"/>
              <a:cs typeface="+mn-cs"/>
            </a:endParaRPr>
          </a:p>
        </p:txBody>
      </p:sp>
      <p:sp>
        <p:nvSpPr>
          <p:cNvPr id="6" name="Pladsholder til slidenummer 5">
            <a:extLst>
              <a:ext uri="{FF2B5EF4-FFF2-40B4-BE49-F238E27FC236}">
                <a16:creationId xmlns:a16="http://schemas.microsoft.com/office/drawing/2014/main" id="{B7914CC1-98C6-643E-1F05-FF0035EF2B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50" b="0" i="0" u="none" strike="noStrike" kern="1200" cap="none" spc="0" normalizeH="0" baseline="0" noProof="0" smtClean="0">
                <a:ln>
                  <a:noFill/>
                </a:ln>
                <a:solidFill>
                  <a:srgbClr val="A0C1C2"/>
                </a:solidFill>
                <a:effectLst/>
                <a:uLnTx/>
                <a:uFillTx/>
                <a:latin typeface="Calibr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050" b="0" i="0" u="none" strike="noStrike" kern="1200" cap="none" spc="0" normalizeH="0" baseline="0" noProof="0">
              <a:ln>
                <a:noFill/>
              </a:ln>
              <a:solidFill>
                <a:srgbClr val="A0C1C2"/>
              </a:solidFill>
              <a:effectLst/>
              <a:uLnTx/>
              <a:uFillTx/>
              <a:latin typeface="Calibri Light"/>
              <a:ea typeface="+mn-ea"/>
              <a:cs typeface="+mn-cs"/>
            </a:endParaRPr>
          </a:p>
        </p:txBody>
      </p:sp>
      <p:sp>
        <p:nvSpPr>
          <p:cNvPr id="21" name="Tekstfelt 20">
            <a:extLst>
              <a:ext uri="{FF2B5EF4-FFF2-40B4-BE49-F238E27FC236}">
                <a16:creationId xmlns:a16="http://schemas.microsoft.com/office/drawing/2014/main" id="{D6A817B0-5D6E-B60B-09AB-1C8C977FDFD7}"/>
              </a:ext>
            </a:extLst>
          </p:cNvPr>
          <p:cNvSpPr txBox="1"/>
          <p:nvPr/>
        </p:nvSpPr>
        <p:spPr>
          <a:xfrm>
            <a:off x="605920" y="347972"/>
            <a:ext cx="3730172"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FFFFFF"/>
                </a:solidFill>
                <a:effectLst/>
                <a:uLnTx/>
                <a:uFillTx/>
                <a:latin typeface="Calibri Light"/>
                <a:ea typeface="+mn-ea"/>
                <a:cs typeface="+mn-cs"/>
              </a:rPr>
              <a:t>OPERATE AND BALANCE THE TRANSMISSION SYSTEMS</a:t>
            </a:r>
          </a:p>
        </p:txBody>
      </p:sp>
      <p:pic>
        <p:nvPicPr>
          <p:cNvPr id="22" name="Billede 21" descr="Et billede, der indeholder tekst&#10;&#10;Automatisk genereret beskrivelse">
            <a:extLst>
              <a:ext uri="{FF2B5EF4-FFF2-40B4-BE49-F238E27FC236}">
                <a16:creationId xmlns:a16="http://schemas.microsoft.com/office/drawing/2014/main" id="{A4B10F1A-72F0-7067-5E44-437394C22D8D}"/>
              </a:ext>
            </a:extLst>
          </p:cNvPr>
          <p:cNvPicPr>
            <a:picLocks noChangeAspect="1"/>
          </p:cNvPicPr>
          <p:nvPr/>
        </p:nvPicPr>
        <p:blipFill rotWithShape="1">
          <a:blip r:embed="rId5">
            <a:extLst>
              <a:ext uri="{28A0092B-C50C-407E-A947-70E740481C1C}">
                <a14:useLocalDpi xmlns:a14="http://schemas.microsoft.com/office/drawing/2010/main" val="0"/>
              </a:ext>
            </a:extLst>
          </a:blip>
          <a:srcRect t="72698" r="70160" b="17087"/>
          <a:stretch/>
        </p:blipFill>
        <p:spPr>
          <a:xfrm>
            <a:off x="0" y="809138"/>
            <a:ext cx="3638145" cy="700558"/>
          </a:xfrm>
          <a:prstGeom prst="rect">
            <a:avLst/>
          </a:prstGeom>
        </p:spPr>
      </p:pic>
      <p:sp>
        <p:nvSpPr>
          <p:cNvPr id="7" name="Tekstfelt 6">
            <a:extLst>
              <a:ext uri="{FF2B5EF4-FFF2-40B4-BE49-F238E27FC236}">
                <a16:creationId xmlns:a16="http://schemas.microsoft.com/office/drawing/2014/main" id="{FC01F4BA-813F-679A-2B91-365D6D0BD96A}"/>
              </a:ext>
            </a:extLst>
          </p:cNvPr>
          <p:cNvSpPr txBox="1"/>
          <p:nvPr/>
        </p:nvSpPr>
        <p:spPr>
          <a:xfrm>
            <a:off x="3868555" y="464232"/>
            <a:ext cx="675476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Light"/>
                <a:ea typeface="+mn-ea"/>
                <a:cs typeface="+mn-cs"/>
              </a:rPr>
              <a:t>7 CENTRAL PARAMETERS OF SECURITY OF SUPPLY</a:t>
            </a:r>
          </a:p>
        </p:txBody>
      </p:sp>
      <p:graphicFrame>
        <p:nvGraphicFramePr>
          <p:cNvPr id="8" name="Diagram 7">
            <a:extLst>
              <a:ext uri="{FF2B5EF4-FFF2-40B4-BE49-F238E27FC236}">
                <a16:creationId xmlns:a16="http://schemas.microsoft.com/office/drawing/2014/main" id="{233F0720-E8E4-2B5C-89FA-6F8ED5142FA1}"/>
              </a:ext>
            </a:extLst>
          </p:cNvPr>
          <p:cNvGraphicFramePr/>
          <p:nvPr>
            <p:extLst>
              <p:ext uri="{D42A27DB-BD31-4B8C-83A1-F6EECF244321}">
                <p14:modId xmlns:p14="http://schemas.microsoft.com/office/powerpoint/2010/main" val="4100518959"/>
              </p:ext>
            </p:extLst>
          </p:nvPr>
        </p:nvGraphicFramePr>
        <p:xfrm>
          <a:off x="3594044" y="1905865"/>
          <a:ext cx="8546639" cy="448895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9" name="Billede 8">
            <a:extLst>
              <a:ext uri="{FF2B5EF4-FFF2-40B4-BE49-F238E27FC236}">
                <a16:creationId xmlns:a16="http://schemas.microsoft.com/office/drawing/2014/main" id="{09BC515D-102B-073F-357D-CBF3675448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73268">
            <a:off x="4027981" y="2603904"/>
            <a:ext cx="521954" cy="637446"/>
          </a:xfrm>
          <a:prstGeom prst="rect">
            <a:avLst/>
          </a:prstGeom>
        </p:spPr>
      </p:pic>
      <p:pic>
        <p:nvPicPr>
          <p:cNvPr id="10" name="Billede 9" descr="Et billede, der indeholder tekst&#10;&#10;Automatisk genereret beskrivelse">
            <a:extLst>
              <a:ext uri="{FF2B5EF4-FFF2-40B4-BE49-F238E27FC236}">
                <a16:creationId xmlns:a16="http://schemas.microsoft.com/office/drawing/2014/main" id="{07E50EBE-0FBC-B7CC-DDD3-F5EA4EE9059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04775" y="3339115"/>
            <a:ext cx="360000" cy="360000"/>
          </a:xfrm>
          <a:prstGeom prst="rect">
            <a:avLst/>
          </a:prstGeom>
        </p:spPr>
      </p:pic>
      <p:pic>
        <p:nvPicPr>
          <p:cNvPr id="11" name="Billede 10">
            <a:extLst>
              <a:ext uri="{FF2B5EF4-FFF2-40B4-BE49-F238E27FC236}">
                <a16:creationId xmlns:a16="http://schemas.microsoft.com/office/drawing/2014/main" id="{591C6580-39BA-4516-49B0-6D2F53F96F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381549" y="3970604"/>
            <a:ext cx="360000" cy="360000"/>
          </a:xfrm>
          <a:prstGeom prst="rect">
            <a:avLst/>
          </a:prstGeom>
        </p:spPr>
      </p:pic>
      <p:pic>
        <p:nvPicPr>
          <p:cNvPr id="12" name="Billede 11">
            <a:extLst>
              <a:ext uri="{FF2B5EF4-FFF2-40B4-BE49-F238E27FC236}">
                <a16:creationId xmlns:a16="http://schemas.microsoft.com/office/drawing/2014/main" id="{7B40A6E1-3AA0-843D-1C74-7E27E2AE001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330770" y="4571232"/>
            <a:ext cx="360000" cy="360000"/>
          </a:xfrm>
          <a:prstGeom prst="rect">
            <a:avLst/>
          </a:prstGeom>
        </p:spPr>
      </p:pic>
      <p:pic>
        <p:nvPicPr>
          <p:cNvPr id="13" name="Billede 12">
            <a:extLst>
              <a:ext uri="{FF2B5EF4-FFF2-40B4-BE49-F238E27FC236}">
                <a16:creationId xmlns:a16="http://schemas.microsoft.com/office/drawing/2014/main" id="{556BEB27-5DB8-BE00-BAE6-024E9F2C4E2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108959" y="5174193"/>
            <a:ext cx="360000" cy="360000"/>
          </a:xfrm>
          <a:prstGeom prst="rect">
            <a:avLst/>
          </a:prstGeom>
        </p:spPr>
      </p:pic>
      <p:pic>
        <p:nvPicPr>
          <p:cNvPr id="15" name="Billede 14" descr="Et billede, der indeholder logo&#10;&#10;Automatisk genereret beskrivelse">
            <a:extLst>
              <a:ext uri="{FF2B5EF4-FFF2-40B4-BE49-F238E27FC236}">
                <a16:creationId xmlns:a16="http://schemas.microsoft.com/office/drawing/2014/main" id="{16528B37-43C8-58C6-10D0-2722DCDC3ED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733990" y="5788307"/>
            <a:ext cx="360000" cy="360000"/>
          </a:xfrm>
          <a:prstGeom prst="rect">
            <a:avLst/>
          </a:prstGeom>
        </p:spPr>
      </p:pic>
      <p:pic>
        <p:nvPicPr>
          <p:cNvPr id="2" name="Logo">
            <a:extLst>
              <a:ext uri="{FF2B5EF4-FFF2-40B4-BE49-F238E27FC236}">
                <a16:creationId xmlns:a16="http://schemas.microsoft.com/office/drawing/2014/main" id="{16F2DB4D-DC8C-DD3E-D9FC-FB4AF604C2FC}"/>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pic>
        <p:nvPicPr>
          <p:cNvPr id="17" name="Billede 16" descr="Et billede, der indeholder skærmbillede, linje/række, design&#10;&#10;Automatisk genereret beskrivelse">
            <a:extLst>
              <a:ext uri="{FF2B5EF4-FFF2-40B4-BE49-F238E27FC236}">
                <a16:creationId xmlns:a16="http://schemas.microsoft.com/office/drawing/2014/main" id="{EF24EB0A-F8CD-5F26-1F05-58D1C802493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748958" y="2146139"/>
            <a:ext cx="360000" cy="360000"/>
          </a:xfrm>
          <a:prstGeom prst="rect">
            <a:avLst/>
          </a:prstGeom>
        </p:spPr>
      </p:pic>
      <p:sp>
        <p:nvSpPr>
          <p:cNvPr id="20" name="Tekstfelt 19">
            <a:extLst>
              <a:ext uri="{FF2B5EF4-FFF2-40B4-BE49-F238E27FC236}">
                <a16:creationId xmlns:a16="http://schemas.microsoft.com/office/drawing/2014/main" id="{25B3EF3D-6FD1-1F43-A0E6-344F8EB49B6C}"/>
              </a:ext>
            </a:extLst>
          </p:cNvPr>
          <p:cNvSpPr txBox="1"/>
          <p:nvPr/>
        </p:nvSpPr>
        <p:spPr>
          <a:xfrm>
            <a:off x="7921679" y="894276"/>
            <a:ext cx="246200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chemeClr val="bg1"/>
                </a:solidFill>
                <a:effectLst/>
                <a:uLnTx/>
                <a:uFillTx/>
                <a:latin typeface="Segoe Print" panose="02000600000000000000" pitchFamily="2" charset="0"/>
                <a:ea typeface="+mn-ea"/>
                <a:cs typeface="+mn-cs"/>
              </a:rPr>
              <a:t>… and </a:t>
            </a:r>
            <a:r>
              <a:rPr kumimoji="0" lang="da-DK" sz="1400" b="0" i="0" u="none" strike="noStrike" kern="1200" cap="none" spc="0" normalizeH="0" baseline="0" noProof="0" dirty="0" err="1">
                <a:ln>
                  <a:noFill/>
                </a:ln>
                <a:solidFill>
                  <a:schemeClr val="bg1"/>
                </a:solidFill>
                <a:effectLst/>
                <a:uLnTx/>
                <a:uFillTx/>
                <a:latin typeface="Segoe Print" panose="02000600000000000000" pitchFamily="2" charset="0"/>
                <a:ea typeface="+mn-ea"/>
                <a:cs typeface="+mn-cs"/>
              </a:rPr>
              <a:t>electrification</a:t>
            </a:r>
            <a:r>
              <a:rPr kumimoji="0" lang="da-DK" sz="1400" b="0" i="0" u="none" strike="noStrike" kern="1200" cap="none" spc="0" normalizeH="0" baseline="0" noProof="0" dirty="0">
                <a:ln>
                  <a:noFill/>
                </a:ln>
                <a:solidFill>
                  <a:schemeClr val="bg1"/>
                </a:solidFill>
                <a:effectLst/>
                <a:uLnTx/>
                <a:uFillTx/>
                <a:latin typeface="Segoe Print" panose="02000600000000000000" pitchFamily="2" charset="0"/>
                <a:ea typeface="+mn-ea"/>
                <a:cs typeface="+mn-cs"/>
              </a:rPr>
              <a:t>!</a:t>
            </a:r>
          </a:p>
        </p:txBody>
      </p:sp>
      <p:pic>
        <p:nvPicPr>
          <p:cNvPr id="4" name="Billede 3">
            <a:extLst>
              <a:ext uri="{FF2B5EF4-FFF2-40B4-BE49-F238E27FC236}">
                <a16:creationId xmlns:a16="http://schemas.microsoft.com/office/drawing/2014/main" id="{6BA4536F-4D51-A30F-B584-9C2B30ADFB06}"/>
              </a:ext>
            </a:extLst>
          </p:cNvPr>
          <p:cNvPicPr>
            <a:picLocks noChangeAspect="1"/>
          </p:cNvPicPr>
          <p:nvPr/>
        </p:nvPicPr>
        <p:blipFill>
          <a:blip r:embed="rId19"/>
          <a:srcRect t="1548"/>
          <a:stretch>
            <a:fillRect/>
          </a:stretch>
        </p:blipFill>
        <p:spPr>
          <a:xfrm rot="20759742">
            <a:off x="737248" y="1887367"/>
            <a:ext cx="2230330" cy="1560344"/>
          </a:xfrm>
          <a:prstGeom prst="rect">
            <a:avLst/>
          </a:prstGeom>
          <a:ln>
            <a:noFill/>
          </a:ln>
          <a:effectLst>
            <a:outerShdw blurRad="292100" dist="139700" dir="2700000" algn="tl" rotWithShape="0">
              <a:srgbClr val="333333">
                <a:alpha val="65000"/>
              </a:srgbClr>
            </a:outerShdw>
          </a:effectLst>
        </p:spPr>
      </p:pic>
      <p:sp>
        <p:nvSpPr>
          <p:cNvPr id="16" name="Tekstfelt 15">
            <a:extLst>
              <a:ext uri="{FF2B5EF4-FFF2-40B4-BE49-F238E27FC236}">
                <a16:creationId xmlns:a16="http://schemas.microsoft.com/office/drawing/2014/main" id="{0F5BB339-8618-AEFD-B931-98F53C5E70D5}"/>
              </a:ext>
            </a:extLst>
          </p:cNvPr>
          <p:cNvSpPr txBox="1"/>
          <p:nvPr/>
        </p:nvSpPr>
        <p:spPr>
          <a:xfrm>
            <a:off x="615922" y="4377234"/>
            <a:ext cx="2637570" cy="553998"/>
          </a:xfrm>
          <a:prstGeom prst="rect">
            <a:avLst/>
          </a:prstGeom>
          <a:noFill/>
        </p:spPr>
        <p:txBody>
          <a:bodyPr wrap="square" lIns="0" tIns="0" rIns="0" bIns="0" rtlCol="0">
            <a:spAutoFit/>
          </a:bodyPr>
          <a:lstStyle/>
          <a:p>
            <a:r>
              <a:rPr lang="da-DK" dirty="0">
                <a:solidFill>
                  <a:schemeClr val="bg1"/>
                </a:solidFill>
              </a:rPr>
              <a:t>GREEN ENERGY WITH HIGH </a:t>
            </a:r>
            <a:r>
              <a:rPr lang="da-DK" b="1" dirty="0">
                <a:solidFill>
                  <a:schemeClr val="accent3"/>
                </a:solidFill>
              </a:rPr>
              <a:t>STABILITY</a:t>
            </a:r>
            <a:r>
              <a:rPr lang="da-DK" dirty="0">
                <a:solidFill>
                  <a:schemeClr val="bg1"/>
                </a:solidFill>
              </a:rPr>
              <a:t> AND </a:t>
            </a:r>
            <a:r>
              <a:rPr lang="da-DK" b="1" dirty="0">
                <a:solidFill>
                  <a:schemeClr val="accent3"/>
                </a:solidFill>
              </a:rPr>
              <a:t>QUALITY</a:t>
            </a:r>
          </a:p>
        </p:txBody>
      </p:sp>
      <p:sp>
        <p:nvSpPr>
          <p:cNvPr id="18" name="Tekstfelt 17">
            <a:extLst>
              <a:ext uri="{FF2B5EF4-FFF2-40B4-BE49-F238E27FC236}">
                <a16:creationId xmlns:a16="http://schemas.microsoft.com/office/drawing/2014/main" id="{BC4CA528-CD22-445C-34CA-2C5DC0845824}"/>
              </a:ext>
            </a:extLst>
          </p:cNvPr>
          <p:cNvSpPr txBox="1"/>
          <p:nvPr/>
        </p:nvSpPr>
        <p:spPr>
          <a:xfrm>
            <a:off x="615921" y="5465951"/>
            <a:ext cx="2768833" cy="276999"/>
          </a:xfrm>
          <a:prstGeom prst="rect">
            <a:avLst/>
          </a:prstGeom>
          <a:noFill/>
        </p:spPr>
        <p:txBody>
          <a:bodyPr wrap="square" lIns="0" tIns="0" rIns="0" bIns="0" rtlCol="0">
            <a:spAutoFit/>
          </a:bodyPr>
          <a:lstStyle/>
          <a:p>
            <a:r>
              <a:rPr lang="da-DK" dirty="0">
                <a:solidFill>
                  <a:schemeClr val="bg1"/>
                </a:solidFill>
              </a:rPr>
              <a:t>A </a:t>
            </a:r>
            <a:r>
              <a:rPr lang="da-DK" b="1" dirty="0">
                <a:solidFill>
                  <a:schemeClr val="accent3"/>
                </a:solidFill>
              </a:rPr>
              <a:t>RESILIENT</a:t>
            </a:r>
            <a:r>
              <a:rPr lang="da-DK" dirty="0">
                <a:solidFill>
                  <a:schemeClr val="bg1"/>
                </a:solidFill>
              </a:rPr>
              <a:t> ENERGY SYSTEM</a:t>
            </a:r>
          </a:p>
        </p:txBody>
      </p:sp>
      <p:sp>
        <p:nvSpPr>
          <p:cNvPr id="25" name="Ellipse 24">
            <a:extLst>
              <a:ext uri="{FF2B5EF4-FFF2-40B4-BE49-F238E27FC236}">
                <a16:creationId xmlns:a16="http://schemas.microsoft.com/office/drawing/2014/main" id="{908DBBC5-C592-8296-6D05-EF9CCE24C81B}"/>
              </a:ext>
            </a:extLst>
          </p:cNvPr>
          <p:cNvSpPr/>
          <p:nvPr/>
        </p:nvSpPr>
        <p:spPr>
          <a:xfrm>
            <a:off x="4101062" y="4403563"/>
            <a:ext cx="720000" cy="720000"/>
          </a:xfrm>
          <a:custGeom>
            <a:avLst/>
            <a:gdLst>
              <a:gd name="connsiteX0" fmla="*/ 0 w 720000"/>
              <a:gd name="connsiteY0" fmla="*/ 360000 h 720000"/>
              <a:gd name="connsiteX1" fmla="*/ 360000 w 720000"/>
              <a:gd name="connsiteY1" fmla="*/ 0 h 720000"/>
              <a:gd name="connsiteX2" fmla="*/ 720000 w 720000"/>
              <a:gd name="connsiteY2" fmla="*/ 360000 h 720000"/>
              <a:gd name="connsiteX3" fmla="*/ 360000 w 720000"/>
              <a:gd name="connsiteY3" fmla="*/ 720000 h 720000"/>
              <a:gd name="connsiteX4" fmla="*/ 0 w 720000"/>
              <a:gd name="connsiteY4" fmla="*/ 36000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extrusionOk="0">
                <a:moveTo>
                  <a:pt x="0" y="360000"/>
                </a:moveTo>
                <a:cubicBezTo>
                  <a:pt x="-21351" y="136069"/>
                  <a:pt x="189145" y="-10154"/>
                  <a:pt x="360000" y="0"/>
                </a:cubicBezTo>
                <a:cubicBezTo>
                  <a:pt x="541536" y="9713"/>
                  <a:pt x="730026" y="158185"/>
                  <a:pt x="720000" y="360000"/>
                </a:cubicBezTo>
                <a:cubicBezTo>
                  <a:pt x="718325" y="555483"/>
                  <a:pt x="551486" y="742829"/>
                  <a:pt x="360000" y="720000"/>
                </a:cubicBezTo>
                <a:cubicBezTo>
                  <a:pt x="173831" y="702543"/>
                  <a:pt x="16363" y="557476"/>
                  <a:pt x="0" y="360000"/>
                </a:cubicBezTo>
                <a:close/>
              </a:path>
            </a:pathLst>
          </a:custGeom>
          <a:noFill/>
          <a:ln w="28575">
            <a:solidFill>
              <a:schemeClr val="accent3"/>
            </a:solidFill>
            <a:extLst>
              <a:ext uri="{C807C97D-BFC1-408E-A445-0C87EB9F89A2}">
                <ask:lineSketchStyleProps xmlns:ask="http://schemas.microsoft.com/office/drawing/2018/sketchyshapes" sd="879248734">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sp>
        <p:nvSpPr>
          <p:cNvPr id="26" name="Ellipse 25">
            <a:extLst>
              <a:ext uri="{FF2B5EF4-FFF2-40B4-BE49-F238E27FC236}">
                <a16:creationId xmlns:a16="http://schemas.microsoft.com/office/drawing/2014/main" id="{C0520AA9-1A06-292B-7395-03BA1E5DC19E}"/>
              </a:ext>
            </a:extLst>
          </p:cNvPr>
          <p:cNvSpPr/>
          <p:nvPr/>
        </p:nvSpPr>
        <p:spPr>
          <a:xfrm>
            <a:off x="4114315" y="3184362"/>
            <a:ext cx="720000" cy="720000"/>
          </a:xfrm>
          <a:custGeom>
            <a:avLst/>
            <a:gdLst>
              <a:gd name="connsiteX0" fmla="*/ 0 w 720000"/>
              <a:gd name="connsiteY0" fmla="*/ 360000 h 720000"/>
              <a:gd name="connsiteX1" fmla="*/ 360000 w 720000"/>
              <a:gd name="connsiteY1" fmla="*/ 0 h 720000"/>
              <a:gd name="connsiteX2" fmla="*/ 720000 w 720000"/>
              <a:gd name="connsiteY2" fmla="*/ 360000 h 720000"/>
              <a:gd name="connsiteX3" fmla="*/ 360000 w 720000"/>
              <a:gd name="connsiteY3" fmla="*/ 720000 h 720000"/>
              <a:gd name="connsiteX4" fmla="*/ 0 w 720000"/>
              <a:gd name="connsiteY4" fmla="*/ 36000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0" h="720000" extrusionOk="0">
                <a:moveTo>
                  <a:pt x="0" y="360000"/>
                </a:moveTo>
                <a:cubicBezTo>
                  <a:pt x="-21351" y="136069"/>
                  <a:pt x="189145" y="-10154"/>
                  <a:pt x="360000" y="0"/>
                </a:cubicBezTo>
                <a:cubicBezTo>
                  <a:pt x="541536" y="9713"/>
                  <a:pt x="730026" y="158185"/>
                  <a:pt x="720000" y="360000"/>
                </a:cubicBezTo>
                <a:cubicBezTo>
                  <a:pt x="718325" y="555483"/>
                  <a:pt x="551486" y="742829"/>
                  <a:pt x="360000" y="720000"/>
                </a:cubicBezTo>
                <a:cubicBezTo>
                  <a:pt x="173831" y="702543"/>
                  <a:pt x="16363" y="557476"/>
                  <a:pt x="0" y="360000"/>
                </a:cubicBezTo>
                <a:close/>
              </a:path>
            </a:pathLst>
          </a:custGeom>
          <a:noFill/>
          <a:ln w="28575">
            <a:solidFill>
              <a:schemeClr val="accent3"/>
            </a:solidFill>
            <a:extLst>
              <a:ext uri="{C807C97D-BFC1-408E-A445-0C87EB9F89A2}">
                <ask:lineSketchStyleProps xmlns:ask="http://schemas.microsoft.com/office/drawing/2018/sketchyshapes" sd="879248734">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dirty="0"/>
          </a:p>
        </p:txBody>
      </p:sp>
      <p:cxnSp>
        <p:nvCxnSpPr>
          <p:cNvPr id="33" name="Lige forbindelse 32">
            <a:extLst>
              <a:ext uri="{FF2B5EF4-FFF2-40B4-BE49-F238E27FC236}">
                <a16:creationId xmlns:a16="http://schemas.microsoft.com/office/drawing/2014/main" id="{061510C4-439B-ED22-2D0F-A24C794E3B05}"/>
              </a:ext>
            </a:extLst>
          </p:cNvPr>
          <p:cNvCxnSpPr>
            <a:cxnSpLocks/>
          </p:cNvCxnSpPr>
          <p:nvPr/>
        </p:nvCxnSpPr>
        <p:spPr>
          <a:xfrm>
            <a:off x="5576" y="1257766"/>
            <a:ext cx="12168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15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6" name="Object 1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Rectangle 26"/>
          <p:cNvSpPr/>
          <p:nvPr/>
        </p:nvSpPr>
        <p:spPr>
          <a:xfrm>
            <a:off x="125398" y="3468914"/>
            <a:ext cx="3589020" cy="92891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D424"/>
              </a:solidFill>
              <a:effectLst/>
              <a:uLnTx/>
              <a:uFillTx/>
              <a:latin typeface="Calibri Light"/>
              <a:ea typeface="+mn-ea"/>
              <a:cs typeface="+mn-cs"/>
            </a:endParaRPr>
          </a:p>
        </p:txBody>
      </p:sp>
      <p:pic>
        <p:nvPicPr>
          <p:cNvPr id="6" name="Billede 5">
            <a:extLst>
              <a:ext uri="{FF2B5EF4-FFF2-40B4-BE49-F238E27FC236}">
                <a16:creationId xmlns:a16="http://schemas.microsoft.com/office/drawing/2014/main" id="{4228F59D-258F-207D-FD71-B02029D3F46E}"/>
              </a:ext>
            </a:extLst>
          </p:cNvPr>
          <p:cNvPicPr>
            <a:picLocks noChangeAspect="1"/>
          </p:cNvPicPr>
          <p:nvPr/>
        </p:nvPicPr>
        <p:blipFill>
          <a:blip r:embed="rId6"/>
          <a:stretch>
            <a:fillRect/>
          </a:stretch>
        </p:blipFill>
        <p:spPr>
          <a:xfrm>
            <a:off x="2091927" y="2466385"/>
            <a:ext cx="8008145" cy="3862885"/>
          </a:xfrm>
          <a:prstGeom prst="rect">
            <a:avLst/>
          </a:prstGeom>
        </p:spPr>
      </p:pic>
      <p:sp>
        <p:nvSpPr>
          <p:cNvPr id="8" name="Pladsholder til dato 7">
            <a:extLst>
              <a:ext uri="{FF2B5EF4-FFF2-40B4-BE49-F238E27FC236}">
                <a16:creationId xmlns:a16="http://schemas.microsoft.com/office/drawing/2014/main" id="{2FF0153C-F620-FD31-7C3A-B229F5757431}"/>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B7943-B430-4AE4-9623-D7B7F4091632}" type="datetime1">
              <a:rPr kumimoji="0" lang="da-DK" sz="100" b="0" i="0" u="none" strike="noStrike" kern="1200" cap="none" spc="0" normalizeH="0" baseline="0" noProof="0" smtClean="0">
                <a:ln>
                  <a:noFill/>
                </a:ln>
                <a:noFill/>
                <a:effectLst/>
                <a:uLnTx/>
                <a:uFillTx/>
                <a:latin typeface="Calibr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5</a:t>
            </a:fld>
            <a:endParaRPr kumimoji="0" lang="en-GB" sz="100" b="0" i="0" u="none" strike="noStrike" kern="1200" cap="none" spc="0" normalizeH="0" baseline="0" noProof="0">
              <a:ln>
                <a:noFill/>
              </a:ln>
              <a:noFill/>
              <a:effectLst/>
              <a:uLnTx/>
              <a:uFillTx/>
              <a:latin typeface="Calibri Light"/>
              <a:ea typeface="+mn-ea"/>
              <a:cs typeface="+mn-cs"/>
            </a:endParaRPr>
          </a:p>
        </p:txBody>
      </p:sp>
      <p:sp>
        <p:nvSpPr>
          <p:cNvPr id="10" name="Pladsholder til sidefod 9">
            <a:extLst>
              <a:ext uri="{FF2B5EF4-FFF2-40B4-BE49-F238E27FC236}">
                <a16:creationId xmlns:a16="http://schemas.microsoft.com/office/drawing/2014/main" id="{51D6F791-710E-ABCB-5543-BD030381881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 b="0" i="0" u="none" strike="noStrike" kern="1200" cap="none" spc="0" normalizeH="0" baseline="0" noProof="0">
                <a:ln>
                  <a:noFill/>
                </a:ln>
                <a:noFill/>
                <a:effectLst/>
                <a:uLnTx/>
                <a:uFillTx/>
                <a:latin typeface="Calibri Light"/>
                <a:ea typeface="+mn-ea"/>
                <a:cs typeface="+mn-cs"/>
              </a:rPr>
              <a:t>Ptx Aktørgruppemøde</a:t>
            </a:r>
            <a:endParaRPr kumimoji="0" lang="en-GB" sz="100" b="0" i="0" u="none" strike="noStrike" kern="1200" cap="none" spc="0" normalizeH="0" baseline="0" noProof="0">
              <a:ln>
                <a:noFill/>
              </a:ln>
              <a:noFill/>
              <a:effectLst/>
              <a:uLnTx/>
              <a:uFillTx/>
              <a:latin typeface="Calibri Light"/>
              <a:ea typeface="+mn-ea"/>
              <a:cs typeface="+mn-cs"/>
            </a:endParaRPr>
          </a:p>
        </p:txBody>
      </p:sp>
      <p:sp>
        <p:nvSpPr>
          <p:cNvPr id="12" name="Pladsholder til slidenummer 11">
            <a:extLst>
              <a:ext uri="{FF2B5EF4-FFF2-40B4-BE49-F238E27FC236}">
                <a16:creationId xmlns:a16="http://schemas.microsoft.com/office/drawing/2014/main" id="{7451AD56-4C63-DDBA-81A2-4C1FEEC574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sz="1050" b="0" i="0" u="none" strike="noStrike" kern="1200" cap="none" spc="0" normalizeH="0" baseline="0" noProof="0" smtClean="0">
                <a:ln>
                  <a:noFill/>
                </a:ln>
                <a:noFill/>
                <a:effectLst/>
                <a:uLnTx/>
                <a:uFillTx/>
                <a:latin typeface="Calibr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50" b="0" i="0" u="none" strike="noStrike" kern="1200" cap="none" spc="0" normalizeH="0" baseline="0" noProof="0">
              <a:ln>
                <a:noFill/>
              </a:ln>
              <a:noFill/>
              <a:effectLst/>
              <a:uLnTx/>
              <a:uFillTx/>
              <a:latin typeface="Calibri Light"/>
              <a:ea typeface="+mn-ea"/>
              <a:cs typeface="+mn-cs"/>
            </a:endParaRPr>
          </a:p>
        </p:txBody>
      </p:sp>
      <p:sp>
        <p:nvSpPr>
          <p:cNvPr id="20" name="Titel 1">
            <a:extLst>
              <a:ext uri="{FF2B5EF4-FFF2-40B4-BE49-F238E27FC236}">
                <a16:creationId xmlns:a16="http://schemas.microsoft.com/office/drawing/2014/main" id="{B9CBC221-4960-FEB5-FE91-4D486A8D68D5}"/>
              </a:ext>
            </a:extLst>
          </p:cNvPr>
          <p:cNvSpPr txBox="1">
            <a:spLocks/>
          </p:cNvSpPr>
          <p:nvPr/>
        </p:nvSpPr>
        <p:spPr>
          <a:xfrm>
            <a:off x="994874" y="806089"/>
            <a:ext cx="10214464" cy="1261870"/>
          </a:xfrm>
          <a:prstGeom prst="rect">
            <a:avLst/>
          </a:prstGeom>
        </p:spPr>
        <p:txBody>
          <a:bodyPr vert="horz" lIns="91440" tIns="45720" rIns="91440" bIns="45720" rtlCol="0" anchor="b">
            <a:noAutofit/>
          </a:bodyPr>
          <a:lstStyle>
            <a:lvl1pPr algn="l" defTabSz="914400" rtl="0" eaLnBrk="1" latinLnBrk="0" hangingPunct="1">
              <a:lnSpc>
                <a:spcPts val="4000"/>
              </a:lnSpc>
              <a:spcBef>
                <a:spcPct val="0"/>
              </a:spcBef>
              <a:buNone/>
              <a:defRPr sz="4000" b="0" i="0" kern="1200" cap="all" baseline="0">
                <a:solidFill>
                  <a:schemeClr val="accent1"/>
                </a:solidFill>
                <a:latin typeface="Calibri Light" panose="020F0302020204030204" pitchFamily="34" charset="0"/>
                <a:ea typeface="+mj-ea"/>
                <a:cs typeface="Calibri Light" panose="020F0302020204030204" pitchFamily="34" charset="0"/>
              </a:defRPr>
            </a:lvl1pPr>
          </a:lstStyle>
          <a:p>
            <a:r>
              <a:rPr lang="da-DK" dirty="0" err="1">
                <a:solidFill>
                  <a:schemeClr val="accent2"/>
                </a:solidFill>
              </a:rPr>
              <a:t>Consumption</a:t>
            </a:r>
            <a:r>
              <a:rPr lang="da-DK" dirty="0">
                <a:solidFill>
                  <a:schemeClr val="accent2"/>
                </a:solidFill>
              </a:rPr>
              <a:t> and </a:t>
            </a:r>
            <a:r>
              <a:rPr lang="da-DK" dirty="0" err="1">
                <a:solidFill>
                  <a:schemeClr val="accent2"/>
                </a:solidFill>
              </a:rPr>
              <a:t>production</a:t>
            </a:r>
            <a:r>
              <a:rPr lang="da-DK" dirty="0">
                <a:solidFill>
                  <a:schemeClr val="accent2"/>
                </a:solidFill>
              </a:rPr>
              <a:t> </a:t>
            </a:r>
            <a:r>
              <a:rPr lang="da-DK" b="1" dirty="0" err="1">
                <a:solidFill>
                  <a:schemeClr val="accent5"/>
                </a:solidFill>
              </a:rPr>
              <a:t>flexibility</a:t>
            </a:r>
            <a:r>
              <a:rPr lang="da-DK" dirty="0">
                <a:solidFill>
                  <a:schemeClr val="accent2"/>
                </a:solidFill>
              </a:rPr>
              <a:t> </a:t>
            </a:r>
            <a:br>
              <a:rPr lang="da-DK" dirty="0">
                <a:solidFill>
                  <a:schemeClr val="accent2"/>
                </a:solidFill>
              </a:rPr>
            </a:br>
            <a:r>
              <a:rPr lang="da-DK" dirty="0">
                <a:solidFill>
                  <a:schemeClr val="accent2"/>
                </a:solidFill>
              </a:rPr>
              <a:t>is </a:t>
            </a:r>
            <a:r>
              <a:rPr lang="da-DK" dirty="0" err="1">
                <a:solidFill>
                  <a:schemeClr val="accent2"/>
                </a:solidFill>
              </a:rPr>
              <a:t>key</a:t>
            </a:r>
            <a:r>
              <a:rPr lang="da-DK" dirty="0">
                <a:solidFill>
                  <a:schemeClr val="accent2"/>
                </a:solidFill>
              </a:rPr>
              <a:t> to </a:t>
            </a:r>
            <a:r>
              <a:rPr lang="da-DK" dirty="0" err="1">
                <a:solidFill>
                  <a:schemeClr val="accent2"/>
                </a:solidFill>
              </a:rPr>
              <a:t>keep</a:t>
            </a:r>
            <a:r>
              <a:rPr lang="da-DK" dirty="0">
                <a:solidFill>
                  <a:schemeClr val="accent2"/>
                </a:solidFill>
              </a:rPr>
              <a:t> the system in balance</a:t>
            </a:r>
          </a:p>
        </p:txBody>
      </p:sp>
    </p:spTree>
    <p:extLst>
      <p:ext uri="{BB962C8B-B14F-4D97-AF65-F5344CB8AC3E}">
        <p14:creationId xmlns:p14="http://schemas.microsoft.com/office/powerpoint/2010/main" val="18189429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355AE7-55D7-624D-3458-E79640C98D1B}"/>
              </a:ext>
            </a:extLst>
          </p:cNvPr>
          <p:cNvSpPr>
            <a:spLocks noGrp="1"/>
          </p:cNvSpPr>
          <p:nvPr>
            <p:ph type="title"/>
          </p:nvPr>
        </p:nvSpPr>
        <p:spPr/>
        <p:txBody>
          <a:bodyPr/>
          <a:lstStyle/>
          <a:p>
            <a:r>
              <a:rPr lang="da-DK" dirty="0" err="1">
                <a:solidFill>
                  <a:schemeClr val="accent2"/>
                </a:solidFill>
              </a:rPr>
              <a:t>Requirements</a:t>
            </a:r>
            <a:r>
              <a:rPr lang="da-DK" dirty="0">
                <a:solidFill>
                  <a:schemeClr val="accent2"/>
                </a:solidFill>
              </a:rPr>
              <a:t> and </a:t>
            </a:r>
            <a:r>
              <a:rPr lang="da-DK" dirty="0" err="1">
                <a:solidFill>
                  <a:schemeClr val="accent2"/>
                </a:solidFill>
              </a:rPr>
              <a:t>grid</a:t>
            </a:r>
            <a:r>
              <a:rPr lang="da-DK" dirty="0">
                <a:solidFill>
                  <a:schemeClr val="accent2"/>
                </a:solidFill>
              </a:rPr>
              <a:t> </a:t>
            </a:r>
            <a:r>
              <a:rPr lang="da-DK" dirty="0" err="1">
                <a:solidFill>
                  <a:schemeClr val="accent2"/>
                </a:solidFill>
              </a:rPr>
              <a:t>codes</a:t>
            </a:r>
            <a:endParaRPr lang="da-DK" dirty="0">
              <a:solidFill>
                <a:schemeClr val="accent2"/>
              </a:solidFill>
            </a:endParaRPr>
          </a:p>
        </p:txBody>
      </p:sp>
      <p:sp>
        <p:nvSpPr>
          <p:cNvPr id="4" name="Pladsholder til dato 3">
            <a:extLst>
              <a:ext uri="{FF2B5EF4-FFF2-40B4-BE49-F238E27FC236}">
                <a16:creationId xmlns:a16="http://schemas.microsoft.com/office/drawing/2014/main" id="{FE0A43B6-89A5-3509-CC04-61ECF7A210E2}"/>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50" b="0" i="0" u="none" strike="noStrike" kern="1200" cap="none" spc="0" normalizeH="0" baseline="0" noProof="0" dirty="0">
              <a:ln>
                <a:noFill/>
              </a:ln>
              <a:solidFill>
                <a:srgbClr val="A0C1C2"/>
              </a:solidFill>
              <a:effectLst/>
              <a:uLnTx/>
              <a:uFillTx/>
              <a:latin typeface="Calibri Light"/>
              <a:ea typeface="+mn-ea"/>
              <a:cs typeface="+mn-cs"/>
            </a:endParaRPr>
          </a:p>
        </p:txBody>
      </p:sp>
      <p:sp>
        <p:nvSpPr>
          <p:cNvPr id="5" name="Pladsholder til sidefod 4">
            <a:extLst>
              <a:ext uri="{FF2B5EF4-FFF2-40B4-BE49-F238E27FC236}">
                <a16:creationId xmlns:a16="http://schemas.microsoft.com/office/drawing/2014/main" id="{29187545-69A1-3F75-D872-DE0E2B312E7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50" b="0" i="0" u="none" strike="noStrike" kern="1200" cap="none" spc="0" normalizeH="0" baseline="0" noProof="0" dirty="0">
              <a:ln>
                <a:noFill/>
              </a:ln>
              <a:solidFill>
                <a:srgbClr val="A0C1C2"/>
              </a:solidFill>
              <a:effectLst/>
              <a:uLnTx/>
              <a:uFillTx/>
              <a:latin typeface="Calibri Light"/>
              <a:ea typeface="+mn-ea"/>
              <a:cs typeface="+mn-cs"/>
            </a:endParaRPr>
          </a:p>
        </p:txBody>
      </p:sp>
      <p:sp>
        <p:nvSpPr>
          <p:cNvPr id="6" name="Pladsholder til slidenummer 5">
            <a:extLst>
              <a:ext uri="{FF2B5EF4-FFF2-40B4-BE49-F238E27FC236}">
                <a16:creationId xmlns:a16="http://schemas.microsoft.com/office/drawing/2014/main" id="{EE5F03F1-1A7C-DD28-EF71-5AA3ECA1DF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50" b="0" i="0" u="none" strike="noStrike" kern="1200" cap="none" spc="0" normalizeH="0" baseline="0" noProof="0" smtClean="0">
                <a:ln>
                  <a:noFill/>
                </a:ln>
                <a:solidFill>
                  <a:srgbClr val="A0C1C2"/>
                </a:solidFill>
                <a:effectLst/>
                <a:uLnTx/>
                <a:uFillTx/>
                <a:latin typeface="Calibr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050" b="0" i="0" u="none" strike="noStrike" kern="1200" cap="none" spc="0" normalizeH="0" baseline="0" noProof="0" dirty="0">
              <a:ln>
                <a:noFill/>
              </a:ln>
              <a:solidFill>
                <a:srgbClr val="A0C1C2"/>
              </a:solidFill>
              <a:effectLst/>
              <a:uLnTx/>
              <a:uFillTx/>
              <a:latin typeface="Calibri Light"/>
              <a:ea typeface="+mn-ea"/>
              <a:cs typeface="+mn-cs"/>
            </a:endParaRPr>
          </a:p>
        </p:txBody>
      </p:sp>
      <p:sp>
        <p:nvSpPr>
          <p:cNvPr id="7" name="Pladsholder til tekst 6">
            <a:extLst>
              <a:ext uri="{FF2B5EF4-FFF2-40B4-BE49-F238E27FC236}">
                <a16:creationId xmlns:a16="http://schemas.microsoft.com/office/drawing/2014/main" id="{8841037E-AF8F-70CB-687F-0FA9A91EFD7F}"/>
              </a:ext>
            </a:extLst>
          </p:cNvPr>
          <p:cNvSpPr>
            <a:spLocks noGrp="1"/>
          </p:cNvSpPr>
          <p:nvPr>
            <p:ph type="body" sz="quarter" idx="14"/>
          </p:nvPr>
        </p:nvSpPr>
        <p:spPr>
          <a:xfrm>
            <a:off x="982663" y="1928339"/>
            <a:ext cx="10214464" cy="657699"/>
          </a:xfrm>
        </p:spPr>
        <p:txBody>
          <a:bodyPr/>
          <a:lstStyle/>
          <a:p>
            <a:r>
              <a:rPr lang="da-DK" sz="1800" i="1" dirty="0" err="1">
                <a:solidFill>
                  <a:schemeClr val="accent2"/>
                </a:solidFill>
              </a:rPr>
              <a:t>There</a:t>
            </a:r>
            <a:r>
              <a:rPr lang="da-DK" sz="1800" i="1" dirty="0">
                <a:solidFill>
                  <a:schemeClr val="accent2"/>
                </a:solidFill>
              </a:rPr>
              <a:t> is more to it </a:t>
            </a:r>
            <a:r>
              <a:rPr lang="da-DK" sz="1800" i="1" dirty="0" err="1">
                <a:solidFill>
                  <a:schemeClr val="accent2"/>
                </a:solidFill>
              </a:rPr>
              <a:t>than</a:t>
            </a:r>
            <a:r>
              <a:rPr lang="da-DK" sz="1800" i="1" dirty="0">
                <a:solidFill>
                  <a:schemeClr val="accent2"/>
                </a:solidFill>
              </a:rPr>
              <a:t> just </a:t>
            </a:r>
            <a:r>
              <a:rPr lang="da-DK" sz="1800" i="1" dirty="0" err="1">
                <a:solidFill>
                  <a:schemeClr val="accent2"/>
                </a:solidFill>
              </a:rPr>
              <a:t>plugging</a:t>
            </a:r>
            <a:r>
              <a:rPr lang="da-DK" sz="1800" i="1" dirty="0">
                <a:solidFill>
                  <a:schemeClr val="accent2"/>
                </a:solidFill>
              </a:rPr>
              <a:t> in an asset….</a:t>
            </a:r>
          </a:p>
        </p:txBody>
      </p:sp>
      <p:sp>
        <p:nvSpPr>
          <p:cNvPr id="9" name="Rektangel 8">
            <a:extLst>
              <a:ext uri="{FF2B5EF4-FFF2-40B4-BE49-F238E27FC236}">
                <a16:creationId xmlns:a16="http://schemas.microsoft.com/office/drawing/2014/main" id="{9B785046-3258-EA60-D21D-854C21F0BF99}"/>
              </a:ext>
            </a:extLst>
          </p:cNvPr>
          <p:cNvSpPr/>
          <p:nvPr/>
        </p:nvSpPr>
        <p:spPr>
          <a:xfrm>
            <a:off x="0" y="2363755"/>
            <a:ext cx="12192000" cy="3970189"/>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Calibri Light"/>
              <a:ea typeface="+mn-ea"/>
              <a:cs typeface="+mn-cs"/>
            </a:endParaRPr>
          </a:p>
        </p:txBody>
      </p:sp>
      <p:pic>
        <p:nvPicPr>
          <p:cNvPr id="8" name="Billede 7" descr="Et billede, der indeholder Grafik, skitse, linje/række, design&#10;&#10;Automatisk genereret beskrivelse">
            <a:extLst>
              <a:ext uri="{FF2B5EF4-FFF2-40B4-BE49-F238E27FC236}">
                <a16:creationId xmlns:a16="http://schemas.microsoft.com/office/drawing/2014/main" id="{D09D7384-7072-09A3-77D7-C993B2AE0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3688" y="1710843"/>
            <a:ext cx="712414" cy="712414"/>
          </a:xfrm>
          <a:prstGeom prst="rect">
            <a:avLst/>
          </a:prstGeom>
        </p:spPr>
      </p:pic>
      <p:sp>
        <p:nvSpPr>
          <p:cNvPr id="12" name="Tankeboble: sky 11">
            <a:extLst>
              <a:ext uri="{FF2B5EF4-FFF2-40B4-BE49-F238E27FC236}">
                <a16:creationId xmlns:a16="http://schemas.microsoft.com/office/drawing/2014/main" id="{D2F7B62B-2D42-7145-9C2C-FC0EADDC51BC}"/>
              </a:ext>
            </a:extLst>
          </p:cNvPr>
          <p:cNvSpPr/>
          <p:nvPr/>
        </p:nvSpPr>
        <p:spPr>
          <a:xfrm>
            <a:off x="4385900" y="2606902"/>
            <a:ext cx="1119188" cy="590550"/>
          </a:xfrm>
          <a:custGeom>
            <a:avLst/>
            <a:gdLst>
              <a:gd name="connsiteX0" fmla="*/ 101037 w 1119188"/>
              <a:gd name="connsiteY0" fmla="*/ 196439 h 590550"/>
              <a:gd name="connsiteX1" fmla="*/ 145675 w 1119188"/>
              <a:gd name="connsiteY1" fmla="*/ 94419 h 590550"/>
              <a:gd name="connsiteX2" fmla="*/ 362829 w 1119188"/>
              <a:gd name="connsiteY2" fmla="*/ 71112 h 590550"/>
              <a:gd name="connsiteX3" fmla="*/ 581770 w 1119188"/>
              <a:gd name="connsiteY3" fmla="*/ 46915 h 590550"/>
              <a:gd name="connsiteX4" fmla="*/ 667082 w 1119188"/>
              <a:gd name="connsiteY4" fmla="*/ 2734 h 590550"/>
              <a:gd name="connsiteX5" fmla="*/ 772887 w 1119188"/>
              <a:gd name="connsiteY5" fmla="*/ 33915 h 590550"/>
              <a:gd name="connsiteX6" fmla="*/ 918744 w 1119188"/>
              <a:gd name="connsiteY6" fmla="*/ 9432 h 590550"/>
              <a:gd name="connsiteX7" fmla="*/ 992709 w 1119188"/>
              <a:gd name="connsiteY7" fmla="*/ 76224 h 590550"/>
              <a:gd name="connsiteX8" fmla="*/ 1087633 w 1119188"/>
              <a:gd name="connsiteY8" fmla="*/ 141048 h 590550"/>
              <a:gd name="connsiteX9" fmla="*/ 1083384 w 1119188"/>
              <a:gd name="connsiteY9" fmla="*/ 211340 h 590550"/>
              <a:gd name="connsiteX10" fmla="*/ 1114421 w 1119188"/>
              <a:gd name="connsiteY10" fmla="*/ 318814 h 590550"/>
              <a:gd name="connsiteX11" fmla="*/ 969030 w 1119188"/>
              <a:gd name="connsiteY11" fmla="*/ 412892 h 590550"/>
              <a:gd name="connsiteX12" fmla="*/ 916982 w 1119188"/>
              <a:gd name="connsiteY12" fmla="*/ 493505 h 590550"/>
              <a:gd name="connsiteX13" fmla="*/ 739778 w 1119188"/>
              <a:gd name="connsiteY13" fmla="*/ 503266 h 590550"/>
              <a:gd name="connsiteX14" fmla="*/ 613144 w 1119188"/>
              <a:gd name="connsiteY14" fmla="*/ 589265 h 590550"/>
              <a:gd name="connsiteX15" fmla="*/ 426949 w 1119188"/>
              <a:gd name="connsiteY15" fmla="*/ 536771 h 590550"/>
              <a:gd name="connsiteX16" fmla="*/ 150364 w 1119188"/>
              <a:gd name="connsiteY16" fmla="*/ 484907 h 590550"/>
              <a:gd name="connsiteX17" fmla="*/ 28756 w 1119188"/>
              <a:gd name="connsiteY17" fmla="*/ 427191 h 590550"/>
              <a:gd name="connsiteX18" fmla="*/ 54741 w 1119188"/>
              <a:gd name="connsiteY18" fmla="*/ 349285 h 590550"/>
              <a:gd name="connsiteX19" fmla="*/ -130 w 1119188"/>
              <a:gd name="connsiteY19" fmla="*/ 269356 h 590550"/>
              <a:gd name="connsiteX20" fmla="*/ 100079 w 1119188"/>
              <a:gd name="connsiteY20" fmla="*/ 198312 h 590550"/>
              <a:gd name="connsiteX21" fmla="*/ 101037 w 1119188"/>
              <a:gd name="connsiteY21" fmla="*/ 196439 h 590550"/>
              <a:gd name="connsiteX0" fmla="*/ 89230 w 1119188"/>
              <a:gd name="connsiteY0" fmla="*/ 770532 h 590550"/>
              <a:gd name="connsiteX1" fmla="*/ 72826 w 1119188"/>
              <a:gd name="connsiteY1" fmla="*/ 786936 h 590550"/>
              <a:gd name="connsiteX2" fmla="*/ 56422 w 1119188"/>
              <a:gd name="connsiteY2" fmla="*/ 770532 h 590550"/>
              <a:gd name="connsiteX3" fmla="*/ 72826 w 1119188"/>
              <a:gd name="connsiteY3" fmla="*/ 754128 h 590550"/>
              <a:gd name="connsiteX4" fmla="*/ 89230 w 1119188"/>
              <a:gd name="connsiteY4" fmla="*/ 770532 h 590550"/>
              <a:gd name="connsiteX0" fmla="*/ 171379 w 1119188"/>
              <a:gd name="connsiteY0" fmla="*/ 706342 h 590550"/>
              <a:gd name="connsiteX1" fmla="*/ 138571 w 1119188"/>
              <a:gd name="connsiteY1" fmla="*/ 739150 h 590550"/>
              <a:gd name="connsiteX2" fmla="*/ 105763 w 1119188"/>
              <a:gd name="connsiteY2" fmla="*/ 706342 h 590550"/>
              <a:gd name="connsiteX3" fmla="*/ 138571 w 1119188"/>
              <a:gd name="connsiteY3" fmla="*/ 673534 h 590550"/>
              <a:gd name="connsiteX4" fmla="*/ 171379 w 1119188"/>
              <a:gd name="connsiteY4" fmla="*/ 706342 h 590550"/>
              <a:gd name="connsiteX0" fmla="*/ 277003 w 1119188"/>
              <a:gd name="connsiteY0" fmla="*/ 619232 h 590550"/>
              <a:gd name="connsiteX1" fmla="*/ 227790 w 1119188"/>
              <a:gd name="connsiteY1" fmla="*/ 668445 h 590550"/>
              <a:gd name="connsiteX2" fmla="*/ 178577 w 1119188"/>
              <a:gd name="connsiteY2" fmla="*/ 619232 h 590550"/>
              <a:gd name="connsiteX3" fmla="*/ 227790 w 1119188"/>
              <a:gd name="connsiteY3" fmla="*/ 570019 h 590550"/>
              <a:gd name="connsiteX4" fmla="*/ 277003 w 1119188"/>
              <a:gd name="connsiteY4" fmla="*/ 619232 h 590550"/>
              <a:gd name="connsiteX0" fmla="*/ 121582 w 1119188"/>
              <a:gd name="connsiteY0" fmla="*/ 357843 h 590550"/>
              <a:gd name="connsiteX1" fmla="*/ 55959 w 1119188"/>
              <a:gd name="connsiteY1" fmla="*/ 346948 h 590550"/>
              <a:gd name="connsiteX2" fmla="*/ 179484 w 1119188"/>
              <a:gd name="connsiteY2" fmla="*/ 477074 h 590550"/>
              <a:gd name="connsiteX3" fmla="*/ 150779 w 1119188"/>
              <a:gd name="connsiteY3" fmla="*/ 482282 h 590550"/>
              <a:gd name="connsiteX4" fmla="*/ 426897 w 1119188"/>
              <a:gd name="connsiteY4" fmla="*/ 534365 h 590550"/>
              <a:gd name="connsiteX5" fmla="*/ 409591 w 1119188"/>
              <a:gd name="connsiteY5" fmla="*/ 510579 h 590550"/>
              <a:gd name="connsiteX6" fmla="*/ 746824 w 1119188"/>
              <a:gd name="connsiteY6" fmla="*/ 475050 h 590550"/>
              <a:gd name="connsiteX7" fmla="*/ 739907 w 1119188"/>
              <a:gd name="connsiteY7" fmla="*/ 501147 h 590550"/>
              <a:gd name="connsiteX8" fmla="*/ 884184 w 1119188"/>
              <a:gd name="connsiteY8" fmla="*/ 313784 h 590550"/>
              <a:gd name="connsiteX9" fmla="*/ 968408 w 1119188"/>
              <a:gd name="connsiteY9" fmla="*/ 411334 h 590550"/>
              <a:gd name="connsiteX10" fmla="*/ 1082866 w 1119188"/>
              <a:gd name="connsiteY10" fmla="*/ 209891 h 590550"/>
              <a:gd name="connsiteX11" fmla="*/ 1045352 w 1119188"/>
              <a:gd name="connsiteY11" fmla="*/ 246472 h 590550"/>
              <a:gd name="connsiteX12" fmla="*/ 992864 w 1119188"/>
              <a:gd name="connsiteY12" fmla="*/ 74174 h 590550"/>
              <a:gd name="connsiteX13" fmla="*/ 994833 w 1119188"/>
              <a:gd name="connsiteY13" fmla="*/ 91453 h 590550"/>
              <a:gd name="connsiteX14" fmla="*/ 753327 w 1119188"/>
              <a:gd name="connsiteY14" fmla="*/ 54024 h 590550"/>
              <a:gd name="connsiteX15" fmla="*/ 772550 w 1119188"/>
              <a:gd name="connsiteY15" fmla="*/ 31988 h 590550"/>
              <a:gd name="connsiteX16" fmla="*/ 573609 w 1119188"/>
              <a:gd name="connsiteY16" fmla="*/ 64523 h 590550"/>
              <a:gd name="connsiteX17" fmla="*/ 582910 w 1119188"/>
              <a:gd name="connsiteY17" fmla="*/ 45521 h 590550"/>
              <a:gd name="connsiteX18" fmla="*/ 362699 w 1119188"/>
              <a:gd name="connsiteY18" fmla="*/ 70975 h 590550"/>
              <a:gd name="connsiteX19" fmla="*/ 396379 w 1119188"/>
              <a:gd name="connsiteY19" fmla="*/ 89402 h 590550"/>
              <a:gd name="connsiteX20" fmla="*/ 106918 w 1119188"/>
              <a:gd name="connsiteY20" fmla="*/ 215837 h 590550"/>
              <a:gd name="connsiteX21" fmla="*/ 101037 w 1119188"/>
              <a:gd name="connsiteY21" fmla="*/ 196439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9188" h="590550" fill="none" extrusionOk="0">
                <a:moveTo>
                  <a:pt x="101037" y="196439"/>
                </a:moveTo>
                <a:cubicBezTo>
                  <a:pt x="93314" y="159451"/>
                  <a:pt x="104644" y="121812"/>
                  <a:pt x="145675" y="94419"/>
                </a:cubicBezTo>
                <a:cubicBezTo>
                  <a:pt x="204856" y="37257"/>
                  <a:pt x="297335" y="39872"/>
                  <a:pt x="362829" y="71112"/>
                </a:cubicBezTo>
                <a:cubicBezTo>
                  <a:pt x="417360" y="21273"/>
                  <a:pt x="507733" y="12569"/>
                  <a:pt x="581770" y="46915"/>
                </a:cubicBezTo>
                <a:cubicBezTo>
                  <a:pt x="593265" y="23224"/>
                  <a:pt x="629879" y="9925"/>
                  <a:pt x="667082" y="2734"/>
                </a:cubicBezTo>
                <a:cubicBezTo>
                  <a:pt x="703501" y="2449"/>
                  <a:pt x="749222" y="10446"/>
                  <a:pt x="772887" y="33915"/>
                </a:cubicBezTo>
                <a:cubicBezTo>
                  <a:pt x="810384" y="4872"/>
                  <a:pt x="866287" y="-9602"/>
                  <a:pt x="918744" y="9432"/>
                </a:cubicBezTo>
                <a:cubicBezTo>
                  <a:pt x="955352" y="22349"/>
                  <a:pt x="985217" y="45727"/>
                  <a:pt x="992709" y="76224"/>
                </a:cubicBezTo>
                <a:cubicBezTo>
                  <a:pt x="1041291" y="89441"/>
                  <a:pt x="1076866" y="111332"/>
                  <a:pt x="1087633" y="141048"/>
                </a:cubicBezTo>
                <a:cubicBezTo>
                  <a:pt x="1098447" y="163668"/>
                  <a:pt x="1092253" y="188731"/>
                  <a:pt x="1083384" y="211340"/>
                </a:cubicBezTo>
                <a:cubicBezTo>
                  <a:pt x="1112639" y="240641"/>
                  <a:pt x="1134074" y="282481"/>
                  <a:pt x="1114421" y="318814"/>
                </a:cubicBezTo>
                <a:cubicBezTo>
                  <a:pt x="1096058" y="365695"/>
                  <a:pt x="1040549" y="404270"/>
                  <a:pt x="969030" y="412892"/>
                </a:cubicBezTo>
                <a:cubicBezTo>
                  <a:pt x="973126" y="448665"/>
                  <a:pt x="952107" y="476390"/>
                  <a:pt x="916982" y="493505"/>
                </a:cubicBezTo>
                <a:cubicBezTo>
                  <a:pt x="870259" y="519550"/>
                  <a:pt x="799809" y="532302"/>
                  <a:pt x="739778" y="503266"/>
                </a:cubicBezTo>
                <a:cubicBezTo>
                  <a:pt x="713710" y="541890"/>
                  <a:pt x="682450" y="575042"/>
                  <a:pt x="613144" y="589265"/>
                </a:cubicBezTo>
                <a:cubicBezTo>
                  <a:pt x="545724" y="595050"/>
                  <a:pt x="467164" y="574081"/>
                  <a:pt x="426949" y="536771"/>
                </a:cubicBezTo>
                <a:cubicBezTo>
                  <a:pt x="333641" y="575525"/>
                  <a:pt x="207175" y="557161"/>
                  <a:pt x="150364" y="484907"/>
                </a:cubicBezTo>
                <a:cubicBezTo>
                  <a:pt x="90910" y="489649"/>
                  <a:pt x="49709" y="469465"/>
                  <a:pt x="28756" y="427191"/>
                </a:cubicBezTo>
                <a:cubicBezTo>
                  <a:pt x="15998" y="401840"/>
                  <a:pt x="22388" y="370193"/>
                  <a:pt x="54741" y="349285"/>
                </a:cubicBezTo>
                <a:cubicBezTo>
                  <a:pt x="12477" y="335045"/>
                  <a:pt x="-4263" y="304263"/>
                  <a:pt x="-130" y="269356"/>
                </a:cubicBezTo>
                <a:cubicBezTo>
                  <a:pt x="5598" y="233023"/>
                  <a:pt x="51188" y="207148"/>
                  <a:pt x="100079" y="198312"/>
                </a:cubicBezTo>
                <a:cubicBezTo>
                  <a:pt x="100389" y="197720"/>
                  <a:pt x="100785" y="196970"/>
                  <a:pt x="101037" y="196439"/>
                </a:cubicBezTo>
                <a:close/>
              </a:path>
              <a:path w="1119188" h="590550" fill="none" extrusionOk="0">
                <a:moveTo>
                  <a:pt x="89230" y="770532"/>
                </a:moveTo>
                <a:cubicBezTo>
                  <a:pt x="88178" y="779359"/>
                  <a:pt x="82994" y="786985"/>
                  <a:pt x="72826" y="786936"/>
                </a:cubicBezTo>
                <a:cubicBezTo>
                  <a:pt x="63586" y="786446"/>
                  <a:pt x="55936" y="779656"/>
                  <a:pt x="56422" y="770532"/>
                </a:cubicBezTo>
                <a:cubicBezTo>
                  <a:pt x="55928" y="760271"/>
                  <a:pt x="63898" y="753882"/>
                  <a:pt x="72826" y="754128"/>
                </a:cubicBezTo>
                <a:cubicBezTo>
                  <a:pt x="81558" y="753948"/>
                  <a:pt x="90859" y="761914"/>
                  <a:pt x="89230" y="770532"/>
                </a:cubicBezTo>
                <a:close/>
              </a:path>
              <a:path w="1119188" h="590550" fill="none" extrusionOk="0">
                <a:moveTo>
                  <a:pt x="171379" y="706342"/>
                </a:moveTo>
                <a:cubicBezTo>
                  <a:pt x="171188" y="724727"/>
                  <a:pt x="157007" y="738678"/>
                  <a:pt x="138571" y="739150"/>
                </a:cubicBezTo>
                <a:cubicBezTo>
                  <a:pt x="123757" y="740067"/>
                  <a:pt x="103699" y="725346"/>
                  <a:pt x="105763" y="706342"/>
                </a:cubicBezTo>
                <a:cubicBezTo>
                  <a:pt x="106762" y="688933"/>
                  <a:pt x="119991" y="671432"/>
                  <a:pt x="138571" y="673534"/>
                </a:cubicBezTo>
                <a:cubicBezTo>
                  <a:pt x="155410" y="670851"/>
                  <a:pt x="167908" y="687877"/>
                  <a:pt x="171379" y="706342"/>
                </a:cubicBezTo>
                <a:close/>
              </a:path>
              <a:path w="1119188" h="590550" fill="none" extrusionOk="0">
                <a:moveTo>
                  <a:pt x="277003" y="619232"/>
                </a:moveTo>
                <a:cubicBezTo>
                  <a:pt x="278536" y="643293"/>
                  <a:pt x="259316" y="667947"/>
                  <a:pt x="227790" y="668445"/>
                </a:cubicBezTo>
                <a:cubicBezTo>
                  <a:pt x="200361" y="666489"/>
                  <a:pt x="178880" y="648367"/>
                  <a:pt x="178577" y="619232"/>
                </a:cubicBezTo>
                <a:cubicBezTo>
                  <a:pt x="178919" y="590087"/>
                  <a:pt x="201491" y="571357"/>
                  <a:pt x="227790" y="570019"/>
                </a:cubicBezTo>
                <a:cubicBezTo>
                  <a:pt x="251752" y="571489"/>
                  <a:pt x="275526" y="589517"/>
                  <a:pt x="277003" y="619232"/>
                </a:cubicBezTo>
                <a:close/>
              </a:path>
              <a:path w="1119188" h="590550" fill="none" extrusionOk="0">
                <a:moveTo>
                  <a:pt x="121582" y="357843"/>
                </a:moveTo>
                <a:cubicBezTo>
                  <a:pt x="95710" y="361146"/>
                  <a:pt x="74639" y="354412"/>
                  <a:pt x="55959" y="346948"/>
                </a:cubicBezTo>
                <a:moveTo>
                  <a:pt x="179484" y="477074"/>
                </a:moveTo>
                <a:cubicBezTo>
                  <a:pt x="168583" y="479713"/>
                  <a:pt x="162572" y="481330"/>
                  <a:pt x="150779" y="482282"/>
                </a:cubicBezTo>
                <a:moveTo>
                  <a:pt x="426897" y="534365"/>
                </a:moveTo>
                <a:cubicBezTo>
                  <a:pt x="420610" y="526850"/>
                  <a:pt x="413752" y="519567"/>
                  <a:pt x="409591" y="510579"/>
                </a:cubicBezTo>
                <a:moveTo>
                  <a:pt x="746824" y="475050"/>
                </a:moveTo>
                <a:cubicBezTo>
                  <a:pt x="746726" y="483141"/>
                  <a:pt x="744409" y="492785"/>
                  <a:pt x="739907" y="501147"/>
                </a:cubicBezTo>
                <a:moveTo>
                  <a:pt x="884184" y="313784"/>
                </a:moveTo>
                <a:cubicBezTo>
                  <a:pt x="928424" y="334512"/>
                  <a:pt x="971580" y="367745"/>
                  <a:pt x="968408" y="411334"/>
                </a:cubicBezTo>
                <a:moveTo>
                  <a:pt x="1082866" y="209891"/>
                </a:moveTo>
                <a:cubicBezTo>
                  <a:pt x="1076850" y="224124"/>
                  <a:pt x="1059625" y="236710"/>
                  <a:pt x="1045352" y="246472"/>
                </a:cubicBezTo>
                <a:moveTo>
                  <a:pt x="992864" y="74174"/>
                </a:moveTo>
                <a:cubicBezTo>
                  <a:pt x="994468" y="79350"/>
                  <a:pt x="994244" y="85849"/>
                  <a:pt x="994833" y="91453"/>
                </a:cubicBezTo>
                <a:moveTo>
                  <a:pt x="753327" y="54024"/>
                </a:moveTo>
                <a:cubicBezTo>
                  <a:pt x="757558" y="45785"/>
                  <a:pt x="765045" y="39194"/>
                  <a:pt x="772550" y="31988"/>
                </a:cubicBezTo>
                <a:moveTo>
                  <a:pt x="573609" y="64523"/>
                </a:moveTo>
                <a:cubicBezTo>
                  <a:pt x="574518" y="57360"/>
                  <a:pt x="578573" y="50339"/>
                  <a:pt x="582910" y="45521"/>
                </a:cubicBezTo>
                <a:moveTo>
                  <a:pt x="362699" y="70975"/>
                </a:moveTo>
                <a:cubicBezTo>
                  <a:pt x="376618" y="77893"/>
                  <a:pt x="385905" y="82705"/>
                  <a:pt x="396379" y="89402"/>
                </a:cubicBezTo>
                <a:moveTo>
                  <a:pt x="106918" y="215837"/>
                </a:moveTo>
                <a:cubicBezTo>
                  <a:pt x="104005" y="209409"/>
                  <a:pt x="102644" y="203566"/>
                  <a:pt x="101037" y="196439"/>
                </a:cubicBezTo>
              </a:path>
              <a:path w="1119188" h="590550" stroke="0" extrusionOk="0">
                <a:moveTo>
                  <a:pt x="101037" y="196439"/>
                </a:moveTo>
                <a:cubicBezTo>
                  <a:pt x="92698" y="158302"/>
                  <a:pt x="112045" y="120373"/>
                  <a:pt x="145675" y="94419"/>
                </a:cubicBezTo>
                <a:cubicBezTo>
                  <a:pt x="202148" y="52008"/>
                  <a:pt x="297379" y="42724"/>
                  <a:pt x="362829" y="71112"/>
                </a:cubicBezTo>
                <a:cubicBezTo>
                  <a:pt x="394467" y="18293"/>
                  <a:pt x="531636" y="-2918"/>
                  <a:pt x="581770" y="46915"/>
                </a:cubicBezTo>
                <a:cubicBezTo>
                  <a:pt x="594972" y="23381"/>
                  <a:pt x="632080" y="4500"/>
                  <a:pt x="667082" y="2734"/>
                </a:cubicBezTo>
                <a:cubicBezTo>
                  <a:pt x="706616" y="-3623"/>
                  <a:pt x="750479" y="5806"/>
                  <a:pt x="772887" y="33915"/>
                </a:cubicBezTo>
                <a:cubicBezTo>
                  <a:pt x="805738" y="690"/>
                  <a:pt x="865574" y="-15153"/>
                  <a:pt x="918744" y="9432"/>
                </a:cubicBezTo>
                <a:cubicBezTo>
                  <a:pt x="959611" y="18060"/>
                  <a:pt x="981784" y="44709"/>
                  <a:pt x="992709" y="76224"/>
                </a:cubicBezTo>
                <a:cubicBezTo>
                  <a:pt x="1041511" y="82923"/>
                  <a:pt x="1069829" y="107516"/>
                  <a:pt x="1087633" y="141048"/>
                </a:cubicBezTo>
                <a:cubicBezTo>
                  <a:pt x="1101926" y="163859"/>
                  <a:pt x="1094703" y="193076"/>
                  <a:pt x="1083384" y="211340"/>
                </a:cubicBezTo>
                <a:cubicBezTo>
                  <a:pt x="1119751" y="245988"/>
                  <a:pt x="1125193" y="275928"/>
                  <a:pt x="1114421" y="318814"/>
                </a:cubicBezTo>
                <a:cubicBezTo>
                  <a:pt x="1101798" y="377338"/>
                  <a:pt x="1040860" y="405695"/>
                  <a:pt x="969030" y="412892"/>
                </a:cubicBezTo>
                <a:cubicBezTo>
                  <a:pt x="971900" y="439590"/>
                  <a:pt x="951730" y="472817"/>
                  <a:pt x="916982" y="493505"/>
                </a:cubicBezTo>
                <a:cubicBezTo>
                  <a:pt x="869193" y="516775"/>
                  <a:pt x="793221" y="530290"/>
                  <a:pt x="739778" y="503266"/>
                </a:cubicBezTo>
                <a:cubicBezTo>
                  <a:pt x="732027" y="541151"/>
                  <a:pt x="673738" y="577235"/>
                  <a:pt x="613144" y="589265"/>
                </a:cubicBezTo>
                <a:cubicBezTo>
                  <a:pt x="545996" y="603319"/>
                  <a:pt x="467255" y="577630"/>
                  <a:pt x="426949" y="536771"/>
                </a:cubicBezTo>
                <a:cubicBezTo>
                  <a:pt x="327913" y="578863"/>
                  <a:pt x="199914" y="567538"/>
                  <a:pt x="150364" y="484907"/>
                </a:cubicBezTo>
                <a:cubicBezTo>
                  <a:pt x="94741" y="489726"/>
                  <a:pt x="44591" y="460979"/>
                  <a:pt x="28756" y="427191"/>
                </a:cubicBezTo>
                <a:cubicBezTo>
                  <a:pt x="21667" y="398419"/>
                  <a:pt x="24990" y="374267"/>
                  <a:pt x="54741" y="349285"/>
                </a:cubicBezTo>
                <a:cubicBezTo>
                  <a:pt x="15512" y="331293"/>
                  <a:pt x="976" y="300981"/>
                  <a:pt x="-130" y="269356"/>
                </a:cubicBezTo>
                <a:cubicBezTo>
                  <a:pt x="5856" y="231070"/>
                  <a:pt x="48628" y="202168"/>
                  <a:pt x="100079" y="198312"/>
                </a:cubicBezTo>
                <a:cubicBezTo>
                  <a:pt x="100393" y="197604"/>
                  <a:pt x="100763" y="197082"/>
                  <a:pt x="101037" y="196439"/>
                </a:cubicBezTo>
                <a:close/>
              </a:path>
              <a:path w="1119188" h="590550" stroke="0" extrusionOk="0">
                <a:moveTo>
                  <a:pt x="89230" y="770532"/>
                </a:moveTo>
                <a:cubicBezTo>
                  <a:pt x="87807" y="779897"/>
                  <a:pt x="82432" y="788026"/>
                  <a:pt x="72826" y="786936"/>
                </a:cubicBezTo>
                <a:cubicBezTo>
                  <a:pt x="63038" y="786370"/>
                  <a:pt x="57500" y="779449"/>
                  <a:pt x="56422" y="770532"/>
                </a:cubicBezTo>
                <a:cubicBezTo>
                  <a:pt x="54974" y="762269"/>
                  <a:pt x="62062" y="753533"/>
                  <a:pt x="72826" y="754128"/>
                </a:cubicBezTo>
                <a:cubicBezTo>
                  <a:pt x="82083" y="754346"/>
                  <a:pt x="90971" y="761883"/>
                  <a:pt x="89230" y="770532"/>
                </a:cubicBezTo>
                <a:close/>
              </a:path>
              <a:path w="1119188" h="590550" stroke="0" extrusionOk="0">
                <a:moveTo>
                  <a:pt x="171379" y="706342"/>
                </a:moveTo>
                <a:cubicBezTo>
                  <a:pt x="170317" y="725466"/>
                  <a:pt x="156033" y="740803"/>
                  <a:pt x="138571" y="739150"/>
                </a:cubicBezTo>
                <a:cubicBezTo>
                  <a:pt x="120536" y="737758"/>
                  <a:pt x="106031" y="723508"/>
                  <a:pt x="105763" y="706342"/>
                </a:cubicBezTo>
                <a:cubicBezTo>
                  <a:pt x="105035" y="690205"/>
                  <a:pt x="118327" y="672649"/>
                  <a:pt x="138571" y="673534"/>
                </a:cubicBezTo>
                <a:cubicBezTo>
                  <a:pt x="159838" y="672709"/>
                  <a:pt x="169808" y="689457"/>
                  <a:pt x="171379" y="706342"/>
                </a:cubicBezTo>
                <a:close/>
              </a:path>
              <a:path w="1119188" h="590550" stroke="0" extrusionOk="0">
                <a:moveTo>
                  <a:pt x="277003" y="619232"/>
                </a:moveTo>
                <a:cubicBezTo>
                  <a:pt x="278187" y="647355"/>
                  <a:pt x="255453" y="670346"/>
                  <a:pt x="227790" y="668445"/>
                </a:cubicBezTo>
                <a:cubicBezTo>
                  <a:pt x="204397" y="666182"/>
                  <a:pt x="174832" y="646676"/>
                  <a:pt x="178577" y="619232"/>
                </a:cubicBezTo>
                <a:cubicBezTo>
                  <a:pt x="179471" y="592785"/>
                  <a:pt x="203343" y="574546"/>
                  <a:pt x="227790" y="570019"/>
                </a:cubicBezTo>
                <a:cubicBezTo>
                  <a:pt x="252661" y="569527"/>
                  <a:pt x="276418" y="590958"/>
                  <a:pt x="277003" y="619232"/>
                </a:cubicBezTo>
                <a:close/>
              </a:path>
              <a:path w="1119188" h="590550" fill="none" stroke="0" extrusionOk="0">
                <a:moveTo>
                  <a:pt x="121582" y="357843"/>
                </a:moveTo>
                <a:cubicBezTo>
                  <a:pt x="100451" y="362108"/>
                  <a:pt x="76720" y="352050"/>
                  <a:pt x="55959" y="346948"/>
                </a:cubicBezTo>
                <a:moveTo>
                  <a:pt x="179484" y="477074"/>
                </a:moveTo>
                <a:cubicBezTo>
                  <a:pt x="170468" y="479803"/>
                  <a:pt x="160044" y="481087"/>
                  <a:pt x="150779" y="482282"/>
                </a:cubicBezTo>
                <a:moveTo>
                  <a:pt x="426897" y="534365"/>
                </a:moveTo>
                <a:cubicBezTo>
                  <a:pt x="419730" y="527444"/>
                  <a:pt x="413903" y="518560"/>
                  <a:pt x="409591" y="510579"/>
                </a:cubicBezTo>
                <a:moveTo>
                  <a:pt x="746824" y="475050"/>
                </a:moveTo>
                <a:cubicBezTo>
                  <a:pt x="745201" y="485390"/>
                  <a:pt x="742706" y="492924"/>
                  <a:pt x="739907" y="501147"/>
                </a:cubicBezTo>
                <a:moveTo>
                  <a:pt x="884184" y="313784"/>
                </a:moveTo>
                <a:cubicBezTo>
                  <a:pt x="935329" y="328487"/>
                  <a:pt x="967457" y="369297"/>
                  <a:pt x="968408" y="411334"/>
                </a:cubicBezTo>
                <a:moveTo>
                  <a:pt x="1082866" y="209891"/>
                </a:moveTo>
                <a:cubicBezTo>
                  <a:pt x="1076977" y="221553"/>
                  <a:pt x="1060798" y="235596"/>
                  <a:pt x="1045352" y="246472"/>
                </a:cubicBezTo>
                <a:moveTo>
                  <a:pt x="992864" y="74174"/>
                </a:moveTo>
                <a:cubicBezTo>
                  <a:pt x="994919" y="79849"/>
                  <a:pt x="994771" y="85765"/>
                  <a:pt x="994833" y="91453"/>
                </a:cubicBezTo>
                <a:moveTo>
                  <a:pt x="753327" y="54024"/>
                </a:moveTo>
                <a:cubicBezTo>
                  <a:pt x="758449" y="44224"/>
                  <a:pt x="765493" y="38794"/>
                  <a:pt x="772550" y="31988"/>
                </a:cubicBezTo>
                <a:moveTo>
                  <a:pt x="573609" y="64523"/>
                </a:moveTo>
                <a:cubicBezTo>
                  <a:pt x="575180" y="57496"/>
                  <a:pt x="578994" y="50589"/>
                  <a:pt x="582910" y="45521"/>
                </a:cubicBezTo>
                <a:moveTo>
                  <a:pt x="362699" y="70975"/>
                </a:moveTo>
                <a:cubicBezTo>
                  <a:pt x="375348" y="76229"/>
                  <a:pt x="385415" y="83004"/>
                  <a:pt x="396379" y="89402"/>
                </a:cubicBezTo>
                <a:moveTo>
                  <a:pt x="106918" y="215837"/>
                </a:moveTo>
                <a:cubicBezTo>
                  <a:pt x="104106" y="209386"/>
                  <a:pt x="101823" y="203907"/>
                  <a:pt x="101037" y="196439"/>
                </a:cubicBezTo>
              </a:path>
            </a:pathLst>
          </a:custGeom>
          <a:solidFill>
            <a:schemeClr val="accent2"/>
          </a:solidFill>
          <a:ln>
            <a:solidFill>
              <a:schemeClr val="accent2"/>
            </a:solidFill>
            <a:extLst>
              <a:ext uri="{C807C97D-BFC1-408E-A445-0C87EB9F89A2}">
                <ask:lineSketchStyleProps xmlns:ask="http://schemas.microsoft.com/office/drawing/2018/sketchyshapes" sd="462865412">
                  <a:prstGeom prst="cloudCallout">
                    <a:avLst>
                      <a:gd name="adj1" fmla="val -43493"/>
                      <a:gd name="adj2" fmla="val 80477"/>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r>
              <a:rPr kumimoji="0" lang="da-DK" sz="1600" b="0" i="0" u="none" strike="noStrike" kern="1200" cap="none" spc="0" normalizeH="0" baseline="0" noProof="0" dirty="0" err="1">
                <a:ln>
                  <a:noFill/>
                </a:ln>
                <a:solidFill>
                  <a:srgbClr val="FFFFFF"/>
                </a:solidFill>
                <a:effectLst/>
                <a:uLnTx/>
                <a:uFillTx/>
                <a:latin typeface="Segoe Print" panose="02000600000000000000" pitchFamily="2" charset="0"/>
                <a:ea typeface="+mn-ea"/>
                <a:cs typeface="+mn-cs"/>
              </a:rPr>
              <a:t>What</a:t>
            </a:r>
            <a:r>
              <a:rPr kumimoji="0" lang="da-DK" sz="1600" b="0" i="0" u="none" strike="noStrike" kern="1200" cap="none" spc="0" normalizeH="0" baseline="0" noProof="0" dirty="0">
                <a:ln>
                  <a:noFill/>
                </a:ln>
                <a:solidFill>
                  <a:srgbClr val="FFFFFF"/>
                </a:solidFill>
                <a:effectLst/>
                <a:uLnTx/>
                <a:uFillTx/>
                <a:latin typeface="Segoe Print" panose="02000600000000000000" pitchFamily="2" charset="0"/>
                <a:ea typeface="+mn-ea"/>
                <a:cs typeface="+mn-cs"/>
              </a:rPr>
              <a:t>?</a:t>
            </a:r>
          </a:p>
        </p:txBody>
      </p:sp>
      <p:sp>
        <p:nvSpPr>
          <p:cNvPr id="13" name="Tankeboble: sky 12">
            <a:extLst>
              <a:ext uri="{FF2B5EF4-FFF2-40B4-BE49-F238E27FC236}">
                <a16:creationId xmlns:a16="http://schemas.microsoft.com/office/drawing/2014/main" id="{555997D7-2EEF-A6EE-47F4-9D91D55DF7E6}"/>
              </a:ext>
            </a:extLst>
          </p:cNvPr>
          <p:cNvSpPr/>
          <p:nvPr/>
        </p:nvSpPr>
        <p:spPr>
          <a:xfrm>
            <a:off x="628468" y="2573338"/>
            <a:ext cx="1119188" cy="590550"/>
          </a:xfrm>
          <a:custGeom>
            <a:avLst/>
            <a:gdLst>
              <a:gd name="connsiteX0" fmla="*/ 101037 w 1119188"/>
              <a:gd name="connsiteY0" fmla="*/ 196439 h 590550"/>
              <a:gd name="connsiteX1" fmla="*/ 145675 w 1119188"/>
              <a:gd name="connsiteY1" fmla="*/ 94419 h 590550"/>
              <a:gd name="connsiteX2" fmla="*/ 362829 w 1119188"/>
              <a:gd name="connsiteY2" fmla="*/ 71112 h 590550"/>
              <a:gd name="connsiteX3" fmla="*/ 581770 w 1119188"/>
              <a:gd name="connsiteY3" fmla="*/ 46915 h 590550"/>
              <a:gd name="connsiteX4" fmla="*/ 667082 w 1119188"/>
              <a:gd name="connsiteY4" fmla="*/ 2734 h 590550"/>
              <a:gd name="connsiteX5" fmla="*/ 772887 w 1119188"/>
              <a:gd name="connsiteY5" fmla="*/ 33915 h 590550"/>
              <a:gd name="connsiteX6" fmla="*/ 918744 w 1119188"/>
              <a:gd name="connsiteY6" fmla="*/ 9432 h 590550"/>
              <a:gd name="connsiteX7" fmla="*/ 992709 w 1119188"/>
              <a:gd name="connsiteY7" fmla="*/ 76224 h 590550"/>
              <a:gd name="connsiteX8" fmla="*/ 1087633 w 1119188"/>
              <a:gd name="connsiteY8" fmla="*/ 141048 h 590550"/>
              <a:gd name="connsiteX9" fmla="*/ 1083384 w 1119188"/>
              <a:gd name="connsiteY9" fmla="*/ 211340 h 590550"/>
              <a:gd name="connsiteX10" fmla="*/ 1114421 w 1119188"/>
              <a:gd name="connsiteY10" fmla="*/ 318814 h 590550"/>
              <a:gd name="connsiteX11" fmla="*/ 969030 w 1119188"/>
              <a:gd name="connsiteY11" fmla="*/ 412892 h 590550"/>
              <a:gd name="connsiteX12" fmla="*/ 916982 w 1119188"/>
              <a:gd name="connsiteY12" fmla="*/ 493505 h 590550"/>
              <a:gd name="connsiteX13" fmla="*/ 739778 w 1119188"/>
              <a:gd name="connsiteY13" fmla="*/ 503266 h 590550"/>
              <a:gd name="connsiteX14" fmla="*/ 613144 w 1119188"/>
              <a:gd name="connsiteY14" fmla="*/ 589265 h 590550"/>
              <a:gd name="connsiteX15" fmla="*/ 426949 w 1119188"/>
              <a:gd name="connsiteY15" fmla="*/ 536771 h 590550"/>
              <a:gd name="connsiteX16" fmla="*/ 150364 w 1119188"/>
              <a:gd name="connsiteY16" fmla="*/ 484907 h 590550"/>
              <a:gd name="connsiteX17" fmla="*/ 28756 w 1119188"/>
              <a:gd name="connsiteY17" fmla="*/ 427191 h 590550"/>
              <a:gd name="connsiteX18" fmla="*/ 54741 w 1119188"/>
              <a:gd name="connsiteY18" fmla="*/ 349285 h 590550"/>
              <a:gd name="connsiteX19" fmla="*/ -130 w 1119188"/>
              <a:gd name="connsiteY19" fmla="*/ 269356 h 590550"/>
              <a:gd name="connsiteX20" fmla="*/ 100079 w 1119188"/>
              <a:gd name="connsiteY20" fmla="*/ 198312 h 590550"/>
              <a:gd name="connsiteX21" fmla="*/ 101037 w 1119188"/>
              <a:gd name="connsiteY21" fmla="*/ 196439 h 590550"/>
              <a:gd name="connsiteX0" fmla="*/ 89230 w 1119188"/>
              <a:gd name="connsiteY0" fmla="*/ 770532 h 590550"/>
              <a:gd name="connsiteX1" fmla="*/ 72826 w 1119188"/>
              <a:gd name="connsiteY1" fmla="*/ 786936 h 590550"/>
              <a:gd name="connsiteX2" fmla="*/ 56422 w 1119188"/>
              <a:gd name="connsiteY2" fmla="*/ 770532 h 590550"/>
              <a:gd name="connsiteX3" fmla="*/ 72826 w 1119188"/>
              <a:gd name="connsiteY3" fmla="*/ 754128 h 590550"/>
              <a:gd name="connsiteX4" fmla="*/ 89230 w 1119188"/>
              <a:gd name="connsiteY4" fmla="*/ 770532 h 590550"/>
              <a:gd name="connsiteX0" fmla="*/ 171379 w 1119188"/>
              <a:gd name="connsiteY0" fmla="*/ 706342 h 590550"/>
              <a:gd name="connsiteX1" fmla="*/ 138571 w 1119188"/>
              <a:gd name="connsiteY1" fmla="*/ 739150 h 590550"/>
              <a:gd name="connsiteX2" fmla="*/ 105763 w 1119188"/>
              <a:gd name="connsiteY2" fmla="*/ 706342 h 590550"/>
              <a:gd name="connsiteX3" fmla="*/ 138571 w 1119188"/>
              <a:gd name="connsiteY3" fmla="*/ 673534 h 590550"/>
              <a:gd name="connsiteX4" fmla="*/ 171379 w 1119188"/>
              <a:gd name="connsiteY4" fmla="*/ 706342 h 590550"/>
              <a:gd name="connsiteX0" fmla="*/ 277003 w 1119188"/>
              <a:gd name="connsiteY0" fmla="*/ 619232 h 590550"/>
              <a:gd name="connsiteX1" fmla="*/ 227790 w 1119188"/>
              <a:gd name="connsiteY1" fmla="*/ 668445 h 590550"/>
              <a:gd name="connsiteX2" fmla="*/ 178577 w 1119188"/>
              <a:gd name="connsiteY2" fmla="*/ 619232 h 590550"/>
              <a:gd name="connsiteX3" fmla="*/ 227790 w 1119188"/>
              <a:gd name="connsiteY3" fmla="*/ 570019 h 590550"/>
              <a:gd name="connsiteX4" fmla="*/ 277003 w 1119188"/>
              <a:gd name="connsiteY4" fmla="*/ 619232 h 590550"/>
              <a:gd name="connsiteX0" fmla="*/ 121582 w 1119188"/>
              <a:gd name="connsiteY0" fmla="*/ 357843 h 590550"/>
              <a:gd name="connsiteX1" fmla="*/ 55959 w 1119188"/>
              <a:gd name="connsiteY1" fmla="*/ 346948 h 590550"/>
              <a:gd name="connsiteX2" fmla="*/ 179484 w 1119188"/>
              <a:gd name="connsiteY2" fmla="*/ 477074 h 590550"/>
              <a:gd name="connsiteX3" fmla="*/ 150779 w 1119188"/>
              <a:gd name="connsiteY3" fmla="*/ 482282 h 590550"/>
              <a:gd name="connsiteX4" fmla="*/ 426897 w 1119188"/>
              <a:gd name="connsiteY4" fmla="*/ 534365 h 590550"/>
              <a:gd name="connsiteX5" fmla="*/ 409591 w 1119188"/>
              <a:gd name="connsiteY5" fmla="*/ 510579 h 590550"/>
              <a:gd name="connsiteX6" fmla="*/ 746824 w 1119188"/>
              <a:gd name="connsiteY6" fmla="*/ 475050 h 590550"/>
              <a:gd name="connsiteX7" fmla="*/ 739907 w 1119188"/>
              <a:gd name="connsiteY7" fmla="*/ 501147 h 590550"/>
              <a:gd name="connsiteX8" fmla="*/ 884184 w 1119188"/>
              <a:gd name="connsiteY8" fmla="*/ 313784 h 590550"/>
              <a:gd name="connsiteX9" fmla="*/ 968408 w 1119188"/>
              <a:gd name="connsiteY9" fmla="*/ 411334 h 590550"/>
              <a:gd name="connsiteX10" fmla="*/ 1082866 w 1119188"/>
              <a:gd name="connsiteY10" fmla="*/ 209891 h 590550"/>
              <a:gd name="connsiteX11" fmla="*/ 1045352 w 1119188"/>
              <a:gd name="connsiteY11" fmla="*/ 246472 h 590550"/>
              <a:gd name="connsiteX12" fmla="*/ 992864 w 1119188"/>
              <a:gd name="connsiteY12" fmla="*/ 74174 h 590550"/>
              <a:gd name="connsiteX13" fmla="*/ 994833 w 1119188"/>
              <a:gd name="connsiteY13" fmla="*/ 91453 h 590550"/>
              <a:gd name="connsiteX14" fmla="*/ 753327 w 1119188"/>
              <a:gd name="connsiteY14" fmla="*/ 54024 h 590550"/>
              <a:gd name="connsiteX15" fmla="*/ 772550 w 1119188"/>
              <a:gd name="connsiteY15" fmla="*/ 31988 h 590550"/>
              <a:gd name="connsiteX16" fmla="*/ 573609 w 1119188"/>
              <a:gd name="connsiteY16" fmla="*/ 64523 h 590550"/>
              <a:gd name="connsiteX17" fmla="*/ 582910 w 1119188"/>
              <a:gd name="connsiteY17" fmla="*/ 45521 h 590550"/>
              <a:gd name="connsiteX18" fmla="*/ 362699 w 1119188"/>
              <a:gd name="connsiteY18" fmla="*/ 70975 h 590550"/>
              <a:gd name="connsiteX19" fmla="*/ 396379 w 1119188"/>
              <a:gd name="connsiteY19" fmla="*/ 89402 h 590550"/>
              <a:gd name="connsiteX20" fmla="*/ 106918 w 1119188"/>
              <a:gd name="connsiteY20" fmla="*/ 215837 h 590550"/>
              <a:gd name="connsiteX21" fmla="*/ 101037 w 1119188"/>
              <a:gd name="connsiteY21" fmla="*/ 196439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9188" h="590550" fill="none" extrusionOk="0">
                <a:moveTo>
                  <a:pt x="101037" y="196439"/>
                </a:moveTo>
                <a:cubicBezTo>
                  <a:pt x="93314" y="159451"/>
                  <a:pt x="104644" y="121812"/>
                  <a:pt x="145675" y="94419"/>
                </a:cubicBezTo>
                <a:cubicBezTo>
                  <a:pt x="204856" y="37257"/>
                  <a:pt x="297335" y="39872"/>
                  <a:pt x="362829" y="71112"/>
                </a:cubicBezTo>
                <a:cubicBezTo>
                  <a:pt x="417360" y="21273"/>
                  <a:pt x="507733" y="12569"/>
                  <a:pt x="581770" y="46915"/>
                </a:cubicBezTo>
                <a:cubicBezTo>
                  <a:pt x="593265" y="23224"/>
                  <a:pt x="629879" y="9925"/>
                  <a:pt x="667082" y="2734"/>
                </a:cubicBezTo>
                <a:cubicBezTo>
                  <a:pt x="703501" y="2449"/>
                  <a:pt x="749222" y="10446"/>
                  <a:pt x="772887" y="33915"/>
                </a:cubicBezTo>
                <a:cubicBezTo>
                  <a:pt x="810384" y="4872"/>
                  <a:pt x="866287" y="-9602"/>
                  <a:pt x="918744" y="9432"/>
                </a:cubicBezTo>
                <a:cubicBezTo>
                  <a:pt x="955352" y="22349"/>
                  <a:pt x="985217" y="45727"/>
                  <a:pt x="992709" y="76224"/>
                </a:cubicBezTo>
                <a:cubicBezTo>
                  <a:pt x="1041291" y="89441"/>
                  <a:pt x="1076866" y="111332"/>
                  <a:pt x="1087633" y="141048"/>
                </a:cubicBezTo>
                <a:cubicBezTo>
                  <a:pt x="1098447" y="163668"/>
                  <a:pt x="1092253" y="188731"/>
                  <a:pt x="1083384" y="211340"/>
                </a:cubicBezTo>
                <a:cubicBezTo>
                  <a:pt x="1112639" y="240641"/>
                  <a:pt x="1134074" y="282481"/>
                  <a:pt x="1114421" y="318814"/>
                </a:cubicBezTo>
                <a:cubicBezTo>
                  <a:pt x="1096058" y="365695"/>
                  <a:pt x="1040549" y="404270"/>
                  <a:pt x="969030" y="412892"/>
                </a:cubicBezTo>
                <a:cubicBezTo>
                  <a:pt x="973126" y="448665"/>
                  <a:pt x="952107" y="476390"/>
                  <a:pt x="916982" y="493505"/>
                </a:cubicBezTo>
                <a:cubicBezTo>
                  <a:pt x="870259" y="519550"/>
                  <a:pt x="799809" y="532302"/>
                  <a:pt x="739778" y="503266"/>
                </a:cubicBezTo>
                <a:cubicBezTo>
                  <a:pt x="713710" y="541890"/>
                  <a:pt x="682450" y="575042"/>
                  <a:pt x="613144" y="589265"/>
                </a:cubicBezTo>
                <a:cubicBezTo>
                  <a:pt x="545724" y="595050"/>
                  <a:pt x="467164" y="574081"/>
                  <a:pt x="426949" y="536771"/>
                </a:cubicBezTo>
                <a:cubicBezTo>
                  <a:pt x="333641" y="575525"/>
                  <a:pt x="207175" y="557161"/>
                  <a:pt x="150364" y="484907"/>
                </a:cubicBezTo>
                <a:cubicBezTo>
                  <a:pt x="90910" y="489649"/>
                  <a:pt x="49709" y="469465"/>
                  <a:pt x="28756" y="427191"/>
                </a:cubicBezTo>
                <a:cubicBezTo>
                  <a:pt x="15998" y="401840"/>
                  <a:pt x="22388" y="370193"/>
                  <a:pt x="54741" y="349285"/>
                </a:cubicBezTo>
                <a:cubicBezTo>
                  <a:pt x="12477" y="335045"/>
                  <a:pt x="-4263" y="304263"/>
                  <a:pt x="-130" y="269356"/>
                </a:cubicBezTo>
                <a:cubicBezTo>
                  <a:pt x="5598" y="233023"/>
                  <a:pt x="51188" y="207148"/>
                  <a:pt x="100079" y="198312"/>
                </a:cubicBezTo>
                <a:cubicBezTo>
                  <a:pt x="100389" y="197720"/>
                  <a:pt x="100785" y="196970"/>
                  <a:pt x="101037" y="196439"/>
                </a:cubicBezTo>
                <a:close/>
              </a:path>
              <a:path w="1119188" h="590550" fill="none" extrusionOk="0">
                <a:moveTo>
                  <a:pt x="89230" y="770532"/>
                </a:moveTo>
                <a:cubicBezTo>
                  <a:pt x="88178" y="779359"/>
                  <a:pt x="82994" y="786985"/>
                  <a:pt x="72826" y="786936"/>
                </a:cubicBezTo>
                <a:cubicBezTo>
                  <a:pt x="63586" y="786446"/>
                  <a:pt x="55936" y="779656"/>
                  <a:pt x="56422" y="770532"/>
                </a:cubicBezTo>
                <a:cubicBezTo>
                  <a:pt x="55928" y="760271"/>
                  <a:pt x="63898" y="753882"/>
                  <a:pt x="72826" y="754128"/>
                </a:cubicBezTo>
                <a:cubicBezTo>
                  <a:pt x="81558" y="753948"/>
                  <a:pt x="90859" y="761914"/>
                  <a:pt x="89230" y="770532"/>
                </a:cubicBezTo>
                <a:close/>
              </a:path>
              <a:path w="1119188" h="590550" fill="none" extrusionOk="0">
                <a:moveTo>
                  <a:pt x="171379" y="706342"/>
                </a:moveTo>
                <a:cubicBezTo>
                  <a:pt x="171188" y="724727"/>
                  <a:pt x="157007" y="738678"/>
                  <a:pt x="138571" y="739150"/>
                </a:cubicBezTo>
                <a:cubicBezTo>
                  <a:pt x="123757" y="740067"/>
                  <a:pt x="103699" y="725346"/>
                  <a:pt x="105763" y="706342"/>
                </a:cubicBezTo>
                <a:cubicBezTo>
                  <a:pt x="106762" y="688933"/>
                  <a:pt x="119991" y="671432"/>
                  <a:pt x="138571" y="673534"/>
                </a:cubicBezTo>
                <a:cubicBezTo>
                  <a:pt x="155410" y="670851"/>
                  <a:pt x="167908" y="687877"/>
                  <a:pt x="171379" y="706342"/>
                </a:cubicBezTo>
                <a:close/>
              </a:path>
              <a:path w="1119188" h="590550" fill="none" extrusionOk="0">
                <a:moveTo>
                  <a:pt x="277003" y="619232"/>
                </a:moveTo>
                <a:cubicBezTo>
                  <a:pt x="278536" y="643293"/>
                  <a:pt x="259316" y="667947"/>
                  <a:pt x="227790" y="668445"/>
                </a:cubicBezTo>
                <a:cubicBezTo>
                  <a:pt x="200361" y="666489"/>
                  <a:pt x="178880" y="648367"/>
                  <a:pt x="178577" y="619232"/>
                </a:cubicBezTo>
                <a:cubicBezTo>
                  <a:pt x="178919" y="590087"/>
                  <a:pt x="201491" y="571357"/>
                  <a:pt x="227790" y="570019"/>
                </a:cubicBezTo>
                <a:cubicBezTo>
                  <a:pt x="251752" y="571489"/>
                  <a:pt x="275526" y="589517"/>
                  <a:pt x="277003" y="619232"/>
                </a:cubicBezTo>
                <a:close/>
              </a:path>
              <a:path w="1119188" h="590550" fill="none" extrusionOk="0">
                <a:moveTo>
                  <a:pt x="121582" y="357843"/>
                </a:moveTo>
                <a:cubicBezTo>
                  <a:pt x="95710" y="361146"/>
                  <a:pt x="74639" y="354412"/>
                  <a:pt x="55959" y="346948"/>
                </a:cubicBezTo>
                <a:moveTo>
                  <a:pt x="179484" y="477074"/>
                </a:moveTo>
                <a:cubicBezTo>
                  <a:pt x="168583" y="479713"/>
                  <a:pt x="162572" y="481330"/>
                  <a:pt x="150779" y="482282"/>
                </a:cubicBezTo>
                <a:moveTo>
                  <a:pt x="426897" y="534365"/>
                </a:moveTo>
                <a:cubicBezTo>
                  <a:pt x="420610" y="526850"/>
                  <a:pt x="413752" y="519567"/>
                  <a:pt x="409591" y="510579"/>
                </a:cubicBezTo>
                <a:moveTo>
                  <a:pt x="746824" y="475050"/>
                </a:moveTo>
                <a:cubicBezTo>
                  <a:pt x="746726" y="483141"/>
                  <a:pt x="744409" y="492785"/>
                  <a:pt x="739907" y="501147"/>
                </a:cubicBezTo>
                <a:moveTo>
                  <a:pt x="884184" y="313784"/>
                </a:moveTo>
                <a:cubicBezTo>
                  <a:pt x="928424" y="334512"/>
                  <a:pt x="971580" y="367745"/>
                  <a:pt x="968408" y="411334"/>
                </a:cubicBezTo>
                <a:moveTo>
                  <a:pt x="1082866" y="209891"/>
                </a:moveTo>
                <a:cubicBezTo>
                  <a:pt x="1076850" y="224124"/>
                  <a:pt x="1059625" y="236710"/>
                  <a:pt x="1045352" y="246472"/>
                </a:cubicBezTo>
                <a:moveTo>
                  <a:pt x="992864" y="74174"/>
                </a:moveTo>
                <a:cubicBezTo>
                  <a:pt x="994468" y="79350"/>
                  <a:pt x="994244" y="85849"/>
                  <a:pt x="994833" y="91453"/>
                </a:cubicBezTo>
                <a:moveTo>
                  <a:pt x="753327" y="54024"/>
                </a:moveTo>
                <a:cubicBezTo>
                  <a:pt x="757558" y="45785"/>
                  <a:pt x="765045" y="39194"/>
                  <a:pt x="772550" y="31988"/>
                </a:cubicBezTo>
                <a:moveTo>
                  <a:pt x="573609" y="64523"/>
                </a:moveTo>
                <a:cubicBezTo>
                  <a:pt x="574518" y="57360"/>
                  <a:pt x="578573" y="50339"/>
                  <a:pt x="582910" y="45521"/>
                </a:cubicBezTo>
                <a:moveTo>
                  <a:pt x="362699" y="70975"/>
                </a:moveTo>
                <a:cubicBezTo>
                  <a:pt x="376618" y="77893"/>
                  <a:pt x="385905" y="82705"/>
                  <a:pt x="396379" y="89402"/>
                </a:cubicBezTo>
                <a:moveTo>
                  <a:pt x="106918" y="215837"/>
                </a:moveTo>
                <a:cubicBezTo>
                  <a:pt x="104005" y="209409"/>
                  <a:pt x="102644" y="203566"/>
                  <a:pt x="101037" y="196439"/>
                </a:cubicBezTo>
              </a:path>
              <a:path w="1119188" h="590550" stroke="0" extrusionOk="0">
                <a:moveTo>
                  <a:pt x="101037" y="196439"/>
                </a:moveTo>
                <a:cubicBezTo>
                  <a:pt x="92698" y="158302"/>
                  <a:pt x="112045" y="120373"/>
                  <a:pt x="145675" y="94419"/>
                </a:cubicBezTo>
                <a:cubicBezTo>
                  <a:pt x="202148" y="52008"/>
                  <a:pt x="297379" y="42724"/>
                  <a:pt x="362829" y="71112"/>
                </a:cubicBezTo>
                <a:cubicBezTo>
                  <a:pt x="394467" y="18293"/>
                  <a:pt x="531636" y="-2918"/>
                  <a:pt x="581770" y="46915"/>
                </a:cubicBezTo>
                <a:cubicBezTo>
                  <a:pt x="594972" y="23381"/>
                  <a:pt x="632080" y="4500"/>
                  <a:pt x="667082" y="2734"/>
                </a:cubicBezTo>
                <a:cubicBezTo>
                  <a:pt x="706616" y="-3623"/>
                  <a:pt x="750479" y="5806"/>
                  <a:pt x="772887" y="33915"/>
                </a:cubicBezTo>
                <a:cubicBezTo>
                  <a:pt x="805738" y="690"/>
                  <a:pt x="865574" y="-15153"/>
                  <a:pt x="918744" y="9432"/>
                </a:cubicBezTo>
                <a:cubicBezTo>
                  <a:pt x="959611" y="18060"/>
                  <a:pt x="981784" y="44709"/>
                  <a:pt x="992709" y="76224"/>
                </a:cubicBezTo>
                <a:cubicBezTo>
                  <a:pt x="1041511" y="82923"/>
                  <a:pt x="1069829" y="107516"/>
                  <a:pt x="1087633" y="141048"/>
                </a:cubicBezTo>
                <a:cubicBezTo>
                  <a:pt x="1101926" y="163859"/>
                  <a:pt x="1094703" y="193076"/>
                  <a:pt x="1083384" y="211340"/>
                </a:cubicBezTo>
                <a:cubicBezTo>
                  <a:pt x="1119751" y="245988"/>
                  <a:pt x="1125193" y="275928"/>
                  <a:pt x="1114421" y="318814"/>
                </a:cubicBezTo>
                <a:cubicBezTo>
                  <a:pt x="1101798" y="377338"/>
                  <a:pt x="1040860" y="405695"/>
                  <a:pt x="969030" y="412892"/>
                </a:cubicBezTo>
                <a:cubicBezTo>
                  <a:pt x="971900" y="439590"/>
                  <a:pt x="951730" y="472817"/>
                  <a:pt x="916982" y="493505"/>
                </a:cubicBezTo>
                <a:cubicBezTo>
                  <a:pt x="869193" y="516775"/>
                  <a:pt x="793221" y="530290"/>
                  <a:pt x="739778" y="503266"/>
                </a:cubicBezTo>
                <a:cubicBezTo>
                  <a:pt x="732027" y="541151"/>
                  <a:pt x="673738" y="577235"/>
                  <a:pt x="613144" y="589265"/>
                </a:cubicBezTo>
                <a:cubicBezTo>
                  <a:pt x="545996" y="603319"/>
                  <a:pt x="467255" y="577630"/>
                  <a:pt x="426949" y="536771"/>
                </a:cubicBezTo>
                <a:cubicBezTo>
                  <a:pt x="327913" y="578863"/>
                  <a:pt x="199914" y="567538"/>
                  <a:pt x="150364" y="484907"/>
                </a:cubicBezTo>
                <a:cubicBezTo>
                  <a:pt x="94741" y="489726"/>
                  <a:pt x="44591" y="460979"/>
                  <a:pt x="28756" y="427191"/>
                </a:cubicBezTo>
                <a:cubicBezTo>
                  <a:pt x="21667" y="398419"/>
                  <a:pt x="24990" y="374267"/>
                  <a:pt x="54741" y="349285"/>
                </a:cubicBezTo>
                <a:cubicBezTo>
                  <a:pt x="15512" y="331293"/>
                  <a:pt x="976" y="300981"/>
                  <a:pt x="-130" y="269356"/>
                </a:cubicBezTo>
                <a:cubicBezTo>
                  <a:pt x="5856" y="231070"/>
                  <a:pt x="48628" y="202168"/>
                  <a:pt x="100079" y="198312"/>
                </a:cubicBezTo>
                <a:cubicBezTo>
                  <a:pt x="100393" y="197604"/>
                  <a:pt x="100763" y="197082"/>
                  <a:pt x="101037" y="196439"/>
                </a:cubicBezTo>
                <a:close/>
              </a:path>
              <a:path w="1119188" h="590550" stroke="0" extrusionOk="0">
                <a:moveTo>
                  <a:pt x="89230" y="770532"/>
                </a:moveTo>
                <a:cubicBezTo>
                  <a:pt x="87807" y="779897"/>
                  <a:pt x="82432" y="788026"/>
                  <a:pt x="72826" y="786936"/>
                </a:cubicBezTo>
                <a:cubicBezTo>
                  <a:pt x="63038" y="786370"/>
                  <a:pt x="57500" y="779449"/>
                  <a:pt x="56422" y="770532"/>
                </a:cubicBezTo>
                <a:cubicBezTo>
                  <a:pt x="54974" y="762269"/>
                  <a:pt x="62062" y="753533"/>
                  <a:pt x="72826" y="754128"/>
                </a:cubicBezTo>
                <a:cubicBezTo>
                  <a:pt x="82083" y="754346"/>
                  <a:pt x="90971" y="761883"/>
                  <a:pt x="89230" y="770532"/>
                </a:cubicBezTo>
                <a:close/>
              </a:path>
              <a:path w="1119188" h="590550" stroke="0" extrusionOk="0">
                <a:moveTo>
                  <a:pt x="171379" y="706342"/>
                </a:moveTo>
                <a:cubicBezTo>
                  <a:pt x="170317" y="725466"/>
                  <a:pt x="156033" y="740803"/>
                  <a:pt x="138571" y="739150"/>
                </a:cubicBezTo>
                <a:cubicBezTo>
                  <a:pt x="120536" y="737758"/>
                  <a:pt x="106031" y="723508"/>
                  <a:pt x="105763" y="706342"/>
                </a:cubicBezTo>
                <a:cubicBezTo>
                  <a:pt x="105035" y="690205"/>
                  <a:pt x="118327" y="672649"/>
                  <a:pt x="138571" y="673534"/>
                </a:cubicBezTo>
                <a:cubicBezTo>
                  <a:pt x="159838" y="672709"/>
                  <a:pt x="169808" y="689457"/>
                  <a:pt x="171379" y="706342"/>
                </a:cubicBezTo>
                <a:close/>
              </a:path>
              <a:path w="1119188" h="590550" stroke="0" extrusionOk="0">
                <a:moveTo>
                  <a:pt x="277003" y="619232"/>
                </a:moveTo>
                <a:cubicBezTo>
                  <a:pt x="278187" y="647355"/>
                  <a:pt x="255453" y="670346"/>
                  <a:pt x="227790" y="668445"/>
                </a:cubicBezTo>
                <a:cubicBezTo>
                  <a:pt x="204397" y="666182"/>
                  <a:pt x="174832" y="646676"/>
                  <a:pt x="178577" y="619232"/>
                </a:cubicBezTo>
                <a:cubicBezTo>
                  <a:pt x="179471" y="592785"/>
                  <a:pt x="203343" y="574546"/>
                  <a:pt x="227790" y="570019"/>
                </a:cubicBezTo>
                <a:cubicBezTo>
                  <a:pt x="252661" y="569527"/>
                  <a:pt x="276418" y="590958"/>
                  <a:pt x="277003" y="619232"/>
                </a:cubicBezTo>
                <a:close/>
              </a:path>
              <a:path w="1119188" h="590550" fill="none" stroke="0" extrusionOk="0">
                <a:moveTo>
                  <a:pt x="121582" y="357843"/>
                </a:moveTo>
                <a:cubicBezTo>
                  <a:pt x="100451" y="362108"/>
                  <a:pt x="76720" y="352050"/>
                  <a:pt x="55959" y="346948"/>
                </a:cubicBezTo>
                <a:moveTo>
                  <a:pt x="179484" y="477074"/>
                </a:moveTo>
                <a:cubicBezTo>
                  <a:pt x="170468" y="479803"/>
                  <a:pt x="160044" y="481087"/>
                  <a:pt x="150779" y="482282"/>
                </a:cubicBezTo>
                <a:moveTo>
                  <a:pt x="426897" y="534365"/>
                </a:moveTo>
                <a:cubicBezTo>
                  <a:pt x="419730" y="527444"/>
                  <a:pt x="413903" y="518560"/>
                  <a:pt x="409591" y="510579"/>
                </a:cubicBezTo>
                <a:moveTo>
                  <a:pt x="746824" y="475050"/>
                </a:moveTo>
                <a:cubicBezTo>
                  <a:pt x="745201" y="485390"/>
                  <a:pt x="742706" y="492924"/>
                  <a:pt x="739907" y="501147"/>
                </a:cubicBezTo>
                <a:moveTo>
                  <a:pt x="884184" y="313784"/>
                </a:moveTo>
                <a:cubicBezTo>
                  <a:pt x="935329" y="328487"/>
                  <a:pt x="967457" y="369297"/>
                  <a:pt x="968408" y="411334"/>
                </a:cubicBezTo>
                <a:moveTo>
                  <a:pt x="1082866" y="209891"/>
                </a:moveTo>
                <a:cubicBezTo>
                  <a:pt x="1076977" y="221553"/>
                  <a:pt x="1060798" y="235596"/>
                  <a:pt x="1045352" y="246472"/>
                </a:cubicBezTo>
                <a:moveTo>
                  <a:pt x="992864" y="74174"/>
                </a:moveTo>
                <a:cubicBezTo>
                  <a:pt x="994919" y="79849"/>
                  <a:pt x="994771" y="85765"/>
                  <a:pt x="994833" y="91453"/>
                </a:cubicBezTo>
                <a:moveTo>
                  <a:pt x="753327" y="54024"/>
                </a:moveTo>
                <a:cubicBezTo>
                  <a:pt x="758449" y="44224"/>
                  <a:pt x="765493" y="38794"/>
                  <a:pt x="772550" y="31988"/>
                </a:cubicBezTo>
                <a:moveTo>
                  <a:pt x="573609" y="64523"/>
                </a:moveTo>
                <a:cubicBezTo>
                  <a:pt x="575180" y="57496"/>
                  <a:pt x="578994" y="50589"/>
                  <a:pt x="582910" y="45521"/>
                </a:cubicBezTo>
                <a:moveTo>
                  <a:pt x="362699" y="70975"/>
                </a:moveTo>
                <a:cubicBezTo>
                  <a:pt x="375348" y="76229"/>
                  <a:pt x="385415" y="83004"/>
                  <a:pt x="396379" y="89402"/>
                </a:cubicBezTo>
                <a:moveTo>
                  <a:pt x="106918" y="215837"/>
                </a:moveTo>
                <a:cubicBezTo>
                  <a:pt x="104106" y="209386"/>
                  <a:pt x="101823" y="203907"/>
                  <a:pt x="101037" y="196439"/>
                </a:cubicBezTo>
              </a:path>
            </a:pathLst>
          </a:custGeom>
          <a:solidFill>
            <a:schemeClr val="accent2"/>
          </a:solidFill>
          <a:ln>
            <a:solidFill>
              <a:schemeClr val="accent2"/>
            </a:solidFill>
            <a:extLst>
              <a:ext uri="{C807C97D-BFC1-408E-A445-0C87EB9F89A2}">
                <ask:lineSketchStyleProps xmlns:ask="http://schemas.microsoft.com/office/drawing/2018/sketchyshapes" sd="462865412">
                  <a:prstGeom prst="cloudCallout">
                    <a:avLst>
                      <a:gd name="adj1" fmla="val -43493"/>
                      <a:gd name="adj2" fmla="val 80477"/>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r>
              <a:rPr kumimoji="0" lang="da-DK" sz="1600" b="0" i="0" u="none" strike="noStrike" kern="1200" cap="none" spc="0" normalizeH="0" baseline="0" noProof="0" dirty="0" err="1">
                <a:ln>
                  <a:noFill/>
                </a:ln>
                <a:solidFill>
                  <a:srgbClr val="FFFFFF"/>
                </a:solidFill>
                <a:effectLst/>
                <a:uLnTx/>
                <a:uFillTx/>
                <a:latin typeface="Segoe Print" panose="02000600000000000000" pitchFamily="2" charset="0"/>
                <a:ea typeface="+mn-ea"/>
                <a:cs typeface="+mn-cs"/>
              </a:rPr>
              <a:t>Why</a:t>
            </a:r>
            <a:r>
              <a:rPr kumimoji="0" lang="da-DK" sz="1600" b="0" i="0" u="none" strike="noStrike" kern="1200" cap="none" spc="0" normalizeH="0" baseline="0" noProof="0" dirty="0">
                <a:ln>
                  <a:noFill/>
                </a:ln>
                <a:solidFill>
                  <a:srgbClr val="FFFFFF"/>
                </a:solidFill>
                <a:effectLst/>
                <a:uLnTx/>
                <a:uFillTx/>
                <a:latin typeface="Segoe Print" panose="02000600000000000000" pitchFamily="2" charset="0"/>
                <a:ea typeface="+mn-ea"/>
                <a:cs typeface="+mn-cs"/>
              </a:rPr>
              <a:t>?</a:t>
            </a:r>
          </a:p>
        </p:txBody>
      </p:sp>
      <p:sp>
        <p:nvSpPr>
          <p:cNvPr id="15" name="Tankeboble: sky 14">
            <a:extLst>
              <a:ext uri="{FF2B5EF4-FFF2-40B4-BE49-F238E27FC236}">
                <a16:creationId xmlns:a16="http://schemas.microsoft.com/office/drawing/2014/main" id="{C6616181-F0CC-77D7-9326-B9FDF19A5ECC}"/>
              </a:ext>
            </a:extLst>
          </p:cNvPr>
          <p:cNvSpPr/>
          <p:nvPr/>
        </p:nvSpPr>
        <p:spPr>
          <a:xfrm>
            <a:off x="8091487" y="2586038"/>
            <a:ext cx="1119188" cy="590550"/>
          </a:xfrm>
          <a:custGeom>
            <a:avLst/>
            <a:gdLst>
              <a:gd name="connsiteX0" fmla="*/ 101037 w 1119188"/>
              <a:gd name="connsiteY0" fmla="*/ 196439 h 590550"/>
              <a:gd name="connsiteX1" fmla="*/ 145675 w 1119188"/>
              <a:gd name="connsiteY1" fmla="*/ 94419 h 590550"/>
              <a:gd name="connsiteX2" fmla="*/ 362829 w 1119188"/>
              <a:gd name="connsiteY2" fmla="*/ 71112 h 590550"/>
              <a:gd name="connsiteX3" fmla="*/ 581770 w 1119188"/>
              <a:gd name="connsiteY3" fmla="*/ 46915 h 590550"/>
              <a:gd name="connsiteX4" fmla="*/ 667082 w 1119188"/>
              <a:gd name="connsiteY4" fmla="*/ 2734 h 590550"/>
              <a:gd name="connsiteX5" fmla="*/ 772887 w 1119188"/>
              <a:gd name="connsiteY5" fmla="*/ 33915 h 590550"/>
              <a:gd name="connsiteX6" fmla="*/ 918744 w 1119188"/>
              <a:gd name="connsiteY6" fmla="*/ 9432 h 590550"/>
              <a:gd name="connsiteX7" fmla="*/ 992709 w 1119188"/>
              <a:gd name="connsiteY7" fmla="*/ 76224 h 590550"/>
              <a:gd name="connsiteX8" fmla="*/ 1087633 w 1119188"/>
              <a:gd name="connsiteY8" fmla="*/ 141048 h 590550"/>
              <a:gd name="connsiteX9" fmla="*/ 1083384 w 1119188"/>
              <a:gd name="connsiteY9" fmla="*/ 211340 h 590550"/>
              <a:gd name="connsiteX10" fmla="*/ 1114421 w 1119188"/>
              <a:gd name="connsiteY10" fmla="*/ 318814 h 590550"/>
              <a:gd name="connsiteX11" fmla="*/ 969030 w 1119188"/>
              <a:gd name="connsiteY11" fmla="*/ 412892 h 590550"/>
              <a:gd name="connsiteX12" fmla="*/ 916982 w 1119188"/>
              <a:gd name="connsiteY12" fmla="*/ 493505 h 590550"/>
              <a:gd name="connsiteX13" fmla="*/ 739778 w 1119188"/>
              <a:gd name="connsiteY13" fmla="*/ 503266 h 590550"/>
              <a:gd name="connsiteX14" fmla="*/ 613144 w 1119188"/>
              <a:gd name="connsiteY14" fmla="*/ 589265 h 590550"/>
              <a:gd name="connsiteX15" fmla="*/ 426949 w 1119188"/>
              <a:gd name="connsiteY15" fmla="*/ 536771 h 590550"/>
              <a:gd name="connsiteX16" fmla="*/ 150364 w 1119188"/>
              <a:gd name="connsiteY16" fmla="*/ 484907 h 590550"/>
              <a:gd name="connsiteX17" fmla="*/ 28756 w 1119188"/>
              <a:gd name="connsiteY17" fmla="*/ 427191 h 590550"/>
              <a:gd name="connsiteX18" fmla="*/ 54741 w 1119188"/>
              <a:gd name="connsiteY18" fmla="*/ 349285 h 590550"/>
              <a:gd name="connsiteX19" fmla="*/ -130 w 1119188"/>
              <a:gd name="connsiteY19" fmla="*/ 269356 h 590550"/>
              <a:gd name="connsiteX20" fmla="*/ 100079 w 1119188"/>
              <a:gd name="connsiteY20" fmla="*/ 198312 h 590550"/>
              <a:gd name="connsiteX21" fmla="*/ 101037 w 1119188"/>
              <a:gd name="connsiteY21" fmla="*/ 196439 h 590550"/>
              <a:gd name="connsiteX0" fmla="*/ 89230 w 1119188"/>
              <a:gd name="connsiteY0" fmla="*/ 770532 h 590550"/>
              <a:gd name="connsiteX1" fmla="*/ 72826 w 1119188"/>
              <a:gd name="connsiteY1" fmla="*/ 786936 h 590550"/>
              <a:gd name="connsiteX2" fmla="*/ 56422 w 1119188"/>
              <a:gd name="connsiteY2" fmla="*/ 770532 h 590550"/>
              <a:gd name="connsiteX3" fmla="*/ 72826 w 1119188"/>
              <a:gd name="connsiteY3" fmla="*/ 754128 h 590550"/>
              <a:gd name="connsiteX4" fmla="*/ 89230 w 1119188"/>
              <a:gd name="connsiteY4" fmla="*/ 770532 h 590550"/>
              <a:gd name="connsiteX0" fmla="*/ 171379 w 1119188"/>
              <a:gd name="connsiteY0" fmla="*/ 706342 h 590550"/>
              <a:gd name="connsiteX1" fmla="*/ 138571 w 1119188"/>
              <a:gd name="connsiteY1" fmla="*/ 739150 h 590550"/>
              <a:gd name="connsiteX2" fmla="*/ 105763 w 1119188"/>
              <a:gd name="connsiteY2" fmla="*/ 706342 h 590550"/>
              <a:gd name="connsiteX3" fmla="*/ 138571 w 1119188"/>
              <a:gd name="connsiteY3" fmla="*/ 673534 h 590550"/>
              <a:gd name="connsiteX4" fmla="*/ 171379 w 1119188"/>
              <a:gd name="connsiteY4" fmla="*/ 706342 h 590550"/>
              <a:gd name="connsiteX0" fmla="*/ 277003 w 1119188"/>
              <a:gd name="connsiteY0" fmla="*/ 619232 h 590550"/>
              <a:gd name="connsiteX1" fmla="*/ 227790 w 1119188"/>
              <a:gd name="connsiteY1" fmla="*/ 668445 h 590550"/>
              <a:gd name="connsiteX2" fmla="*/ 178577 w 1119188"/>
              <a:gd name="connsiteY2" fmla="*/ 619232 h 590550"/>
              <a:gd name="connsiteX3" fmla="*/ 227790 w 1119188"/>
              <a:gd name="connsiteY3" fmla="*/ 570019 h 590550"/>
              <a:gd name="connsiteX4" fmla="*/ 277003 w 1119188"/>
              <a:gd name="connsiteY4" fmla="*/ 619232 h 590550"/>
              <a:gd name="connsiteX0" fmla="*/ 121582 w 1119188"/>
              <a:gd name="connsiteY0" fmla="*/ 357843 h 590550"/>
              <a:gd name="connsiteX1" fmla="*/ 55959 w 1119188"/>
              <a:gd name="connsiteY1" fmla="*/ 346948 h 590550"/>
              <a:gd name="connsiteX2" fmla="*/ 179484 w 1119188"/>
              <a:gd name="connsiteY2" fmla="*/ 477074 h 590550"/>
              <a:gd name="connsiteX3" fmla="*/ 150779 w 1119188"/>
              <a:gd name="connsiteY3" fmla="*/ 482282 h 590550"/>
              <a:gd name="connsiteX4" fmla="*/ 426897 w 1119188"/>
              <a:gd name="connsiteY4" fmla="*/ 534365 h 590550"/>
              <a:gd name="connsiteX5" fmla="*/ 409591 w 1119188"/>
              <a:gd name="connsiteY5" fmla="*/ 510579 h 590550"/>
              <a:gd name="connsiteX6" fmla="*/ 746824 w 1119188"/>
              <a:gd name="connsiteY6" fmla="*/ 475050 h 590550"/>
              <a:gd name="connsiteX7" fmla="*/ 739907 w 1119188"/>
              <a:gd name="connsiteY7" fmla="*/ 501147 h 590550"/>
              <a:gd name="connsiteX8" fmla="*/ 884184 w 1119188"/>
              <a:gd name="connsiteY8" fmla="*/ 313784 h 590550"/>
              <a:gd name="connsiteX9" fmla="*/ 968408 w 1119188"/>
              <a:gd name="connsiteY9" fmla="*/ 411334 h 590550"/>
              <a:gd name="connsiteX10" fmla="*/ 1082866 w 1119188"/>
              <a:gd name="connsiteY10" fmla="*/ 209891 h 590550"/>
              <a:gd name="connsiteX11" fmla="*/ 1045352 w 1119188"/>
              <a:gd name="connsiteY11" fmla="*/ 246472 h 590550"/>
              <a:gd name="connsiteX12" fmla="*/ 992864 w 1119188"/>
              <a:gd name="connsiteY12" fmla="*/ 74174 h 590550"/>
              <a:gd name="connsiteX13" fmla="*/ 994833 w 1119188"/>
              <a:gd name="connsiteY13" fmla="*/ 91453 h 590550"/>
              <a:gd name="connsiteX14" fmla="*/ 753327 w 1119188"/>
              <a:gd name="connsiteY14" fmla="*/ 54024 h 590550"/>
              <a:gd name="connsiteX15" fmla="*/ 772550 w 1119188"/>
              <a:gd name="connsiteY15" fmla="*/ 31988 h 590550"/>
              <a:gd name="connsiteX16" fmla="*/ 573609 w 1119188"/>
              <a:gd name="connsiteY16" fmla="*/ 64523 h 590550"/>
              <a:gd name="connsiteX17" fmla="*/ 582910 w 1119188"/>
              <a:gd name="connsiteY17" fmla="*/ 45521 h 590550"/>
              <a:gd name="connsiteX18" fmla="*/ 362699 w 1119188"/>
              <a:gd name="connsiteY18" fmla="*/ 70975 h 590550"/>
              <a:gd name="connsiteX19" fmla="*/ 396379 w 1119188"/>
              <a:gd name="connsiteY19" fmla="*/ 89402 h 590550"/>
              <a:gd name="connsiteX20" fmla="*/ 106918 w 1119188"/>
              <a:gd name="connsiteY20" fmla="*/ 215837 h 590550"/>
              <a:gd name="connsiteX21" fmla="*/ 101037 w 1119188"/>
              <a:gd name="connsiteY21" fmla="*/ 196439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9188" h="590550" fill="none" extrusionOk="0">
                <a:moveTo>
                  <a:pt x="101037" y="196439"/>
                </a:moveTo>
                <a:cubicBezTo>
                  <a:pt x="93314" y="159451"/>
                  <a:pt x="104644" y="121812"/>
                  <a:pt x="145675" y="94419"/>
                </a:cubicBezTo>
                <a:cubicBezTo>
                  <a:pt x="204856" y="37257"/>
                  <a:pt x="297335" y="39872"/>
                  <a:pt x="362829" y="71112"/>
                </a:cubicBezTo>
                <a:cubicBezTo>
                  <a:pt x="417360" y="21273"/>
                  <a:pt x="507733" y="12569"/>
                  <a:pt x="581770" y="46915"/>
                </a:cubicBezTo>
                <a:cubicBezTo>
                  <a:pt x="593265" y="23224"/>
                  <a:pt x="629879" y="9925"/>
                  <a:pt x="667082" y="2734"/>
                </a:cubicBezTo>
                <a:cubicBezTo>
                  <a:pt x="703501" y="2449"/>
                  <a:pt x="749222" y="10446"/>
                  <a:pt x="772887" y="33915"/>
                </a:cubicBezTo>
                <a:cubicBezTo>
                  <a:pt x="810384" y="4872"/>
                  <a:pt x="866287" y="-9602"/>
                  <a:pt x="918744" y="9432"/>
                </a:cubicBezTo>
                <a:cubicBezTo>
                  <a:pt x="955352" y="22349"/>
                  <a:pt x="985217" y="45727"/>
                  <a:pt x="992709" y="76224"/>
                </a:cubicBezTo>
                <a:cubicBezTo>
                  <a:pt x="1041291" y="89441"/>
                  <a:pt x="1076866" y="111332"/>
                  <a:pt x="1087633" y="141048"/>
                </a:cubicBezTo>
                <a:cubicBezTo>
                  <a:pt x="1098447" y="163668"/>
                  <a:pt x="1092253" y="188731"/>
                  <a:pt x="1083384" y="211340"/>
                </a:cubicBezTo>
                <a:cubicBezTo>
                  <a:pt x="1112639" y="240641"/>
                  <a:pt x="1134074" y="282481"/>
                  <a:pt x="1114421" y="318814"/>
                </a:cubicBezTo>
                <a:cubicBezTo>
                  <a:pt x="1096058" y="365695"/>
                  <a:pt x="1040549" y="404270"/>
                  <a:pt x="969030" y="412892"/>
                </a:cubicBezTo>
                <a:cubicBezTo>
                  <a:pt x="973126" y="448665"/>
                  <a:pt x="952107" y="476390"/>
                  <a:pt x="916982" y="493505"/>
                </a:cubicBezTo>
                <a:cubicBezTo>
                  <a:pt x="870259" y="519550"/>
                  <a:pt x="799809" y="532302"/>
                  <a:pt x="739778" y="503266"/>
                </a:cubicBezTo>
                <a:cubicBezTo>
                  <a:pt x="713710" y="541890"/>
                  <a:pt x="682450" y="575042"/>
                  <a:pt x="613144" y="589265"/>
                </a:cubicBezTo>
                <a:cubicBezTo>
                  <a:pt x="545724" y="595050"/>
                  <a:pt x="467164" y="574081"/>
                  <a:pt x="426949" y="536771"/>
                </a:cubicBezTo>
                <a:cubicBezTo>
                  <a:pt x="333641" y="575525"/>
                  <a:pt x="207175" y="557161"/>
                  <a:pt x="150364" y="484907"/>
                </a:cubicBezTo>
                <a:cubicBezTo>
                  <a:pt x="90910" y="489649"/>
                  <a:pt x="49709" y="469465"/>
                  <a:pt x="28756" y="427191"/>
                </a:cubicBezTo>
                <a:cubicBezTo>
                  <a:pt x="15998" y="401840"/>
                  <a:pt x="22388" y="370193"/>
                  <a:pt x="54741" y="349285"/>
                </a:cubicBezTo>
                <a:cubicBezTo>
                  <a:pt x="12477" y="335045"/>
                  <a:pt x="-4263" y="304263"/>
                  <a:pt x="-130" y="269356"/>
                </a:cubicBezTo>
                <a:cubicBezTo>
                  <a:pt x="5598" y="233023"/>
                  <a:pt x="51188" y="207148"/>
                  <a:pt x="100079" y="198312"/>
                </a:cubicBezTo>
                <a:cubicBezTo>
                  <a:pt x="100389" y="197720"/>
                  <a:pt x="100785" y="196970"/>
                  <a:pt x="101037" y="196439"/>
                </a:cubicBezTo>
                <a:close/>
              </a:path>
              <a:path w="1119188" h="590550" fill="none" extrusionOk="0">
                <a:moveTo>
                  <a:pt x="89230" y="770532"/>
                </a:moveTo>
                <a:cubicBezTo>
                  <a:pt x="88178" y="779359"/>
                  <a:pt x="82994" y="786985"/>
                  <a:pt x="72826" y="786936"/>
                </a:cubicBezTo>
                <a:cubicBezTo>
                  <a:pt x="63586" y="786446"/>
                  <a:pt x="55936" y="779656"/>
                  <a:pt x="56422" y="770532"/>
                </a:cubicBezTo>
                <a:cubicBezTo>
                  <a:pt x="55928" y="760271"/>
                  <a:pt x="63898" y="753882"/>
                  <a:pt x="72826" y="754128"/>
                </a:cubicBezTo>
                <a:cubicBezTo>
                  <a:pt x="81558" y="753948"/>
                  <a:pt x="90859" y="761914"/>
                  <a:pt x="89230" y="770532"/>
                </a:cubicBezTo>
                <a:close/>
              </a:path>
              <a:path w="1119188" h="590550" fill="none" extrusionOk="0">
                <a:moveTo>
                  <a:pt x="171379" y="706342"/>
                </a:moveTo>
                <a:cubicBezTo>
                  <a:pt x="171188" y="724727"/>
                  <a:pt x="157007" y="738678"/>
                  <a:pt x="138571" y="739150"/>
                </a:cubicBezTo>
                <a:cubicBezTo>
                  <a:pt x="123757" y="740067"/>
                  <a:pt x="103699" y="725346"/>
                  <a:pt x="105763" y="706342"/>
                </a:cubicBezTo>
                <a:cubicBezTo>
                  <a:pt x="106762" y="688933"/>
                  <a:pt x="119991" y="671432"/>
                  <a:pt x="138571" y="673534"/>
                </a:cubicBezTo>
                <a:cubicBezTo>
                  <a:pt x="155410" y="670851"/>
                  <a:pt x="167908" y="687877"/>
                  <a:pt x="171379" y="706342"/>
                </a:cubicBezTo>
                <a:close/>
              </a:path>
              <a:path w="1119188" h="590550" fill="none" extrusionOk="0">
                <a:moveTo>
                  <a:pt x="277003" y="619232"/>
                </a:moveTo>
                <a:cubicBezTo>
                  <a:pt x="278536" y="643293"/>
                  <a:pt x="259316" y="667947"/>
                  <a:pt x="227790" y="668445"/>
                </a:cubicBezTo>
                <a:cubicBezTo>
                  <a:pt x="200361" y="666489"/>
                  <a:pt x="178880" y="648367"/>
                  <a:pt x="178577" y="619232"/>
                </a:cubicBezTo>
                <a:cubicBezTo>
                  <a:pt x="178919" y="590087"/>
                  <a:pt x="201491" y="571357"/>
                  <a:pt x="227790" y="570019"/>
                </a:cubicBezTo>
                <a:cubicBezTo>
                  <a:pt x="251752" y="571489"/>
                  <a:pt x="275526" y="589517"/>
                  <a:pt x="277003" y="619232"/>
                </a:cubicBezTo>
                <a:close/>
              </a:path>
              <a:path w="1119188" h="590550" fill="none" extrusionOk="0">
                <a:moveTo>
                  <a:pt x="121582" y="357843"/>
                </a:moveTo>
                <a:cubicBezTo>
                  <a:pt x="95710" y="361146"/>
                  <a:pt x="74639" y="354412"/>
                  <a:pt x="55959" y="346948"/>
                </a:cubicBezTo>
                <a:moveTo>
                  <a:pt x="179484" y="477074"/>
                </a:moveTo>
                <a:cubicBezTo>
                  <a:pt x="168583" y="479713"/>
                  <a:pt x="162572" y="481330"/>
                  <a:pt x="150779" y="482282"/>
                </a:cubicBezTo>
                <a:moveTo>
                  <a:pt x="426897" y="534365"/>
                </a:moveTo>
                <a:cubicBezTo>
                  <a:pt x="420610" y="526850"/>
                  <a:pt x="413752" y="519567"/>
                  <a:pt x="409591" y="510579"/>
                </a:cubicBezTo>
                <a:moveTo>
                  <a:pt x="746824" y="475050"/>
                </a:moveTo>
                <a:cubicBezTo>
                  <a:pt x="746726" y="483141"/>
                  <a:pt x="744409" y="492785"/>
                  <a:pt x="739907" y="501147"/>
                </a:cubicBezTo>
                <a:moveTo>
                  <a:pt x="884184" y="313784"/>
                </a:moveTo>
                <a:cubicBezTo>
                  <a:pt x="928424" y="334512"/>
                  <a:pt x="971580" y="367745"/>
                  <a:pt x="968408" y="411334"/>
                </a:cubicBezTo>
                <a:moveTo>
                  <a:pt x="1082866" y="209891"/>
                </a:moveTo>
                <a:cubicBezTo>
                  <a:pt x="1076850" y="224124"/>
                  <a:pt x="1059625" y="236710"/>
                  <a:pt x="1045352" y="246472"/>
                </a:cubicBezTo>
                <a:moveTo>
                  <a:pt x="992864" y="74174"/>
                </a:moveTo>
                <a:cubicBezTo>
                  <a:pt x="994468" y="79350"/>
                  <a:pt x="994244" y="85849"/>
                  <a:pt x="994833" y="91453"/>
                </a:cubicBezTo>
                <a:moveTo>
                  <a:pt x="753327" y="54024"/>
                </a:moveTo>
                <a:cubicBezTo>
                  <a:pt x="757558" y="45785"/>
                  <a:pt x="765045" y="39194"/>
                  <a:pt x="772550" y="31988"/>
                </a:cubicBezTo>
                <a:moveTo>
                  <a:pt x="573609" y="64523"/>
                </a:moveTo>
                <a:cubicBezTo>
                  <a:pt x="574518" y="57360"/>
                  <a:pt x="578573" y="50339"/>
                  <a:pt x="582910" y="45521"/>
                </a:cubicBezTo>
                <a:moveTo>
                  <a:pt x="362699" y="70975"/>
                </a:moveTo>
                <a:cubicBezTo>
                  <a:pt x="376618" y="77893"/>
                  <a:pt x="385905" y="82705"/>
                  <a:pt x="396379" y="89402"/>
                </a:cubicBezTo>
                <a:moveTo>
                  <a:pt x="106918" y="215837"/>
                </a:moveTo>
                <a:cubicBezTo>
                  <a:pt x="104005" y="209409"/>
                  <a:pt x="102644" y="203566"/>
                  <a:pt x="101037" y="196439"/>
                </a:cubicBezTo>
              </a:path>
              <a:path w="1119188" h="590550" stroke="0" extrusionOk="0">
                <a:moveTo>
                  <a:pt x="101037" y="196439"/>
                </a:moveTo>
                <a:cubicBezTo>
                  <a:pt x="92698" y="158302"/>
                  <a:pt x="112045" y="120373"/>
                  <a:pt x="145675" y="94419"/>
                </a:cubicBezTo>
                <a:cubicBezTo>
                  <a:pt x="202148" y="52008"/>
                  <a:pt x="297379" y="42724"/>
                  <a:pt x="362829" y="71112"/>
                </a:cubicBezTo>
                <a:cubicBezTo>
                  <a:pt x="394467" y="18293"/>
                  <a:pt x="531636" y="-2918"/>
                  <a:pt x="581770" y="46915"/>
                </a:cubicBezTo>
                <a:cubicBezTo>
                  <a:pt x="594972" y="23381"/>
                  <a:pt x="632080" y="4500"/>
                  <a:pt x="667082" y="2734"/>
                </a:cubicBezTo>
                <a:cubicBezTo>
                  <a:pt x="706616" y="-3623"/>
                  <a:pt x="750479" y="5806"/>
                  <a:pt x="772887" y="33915"/>
                </a:cubicBezTo>
                <a:cubicBezTo>
                  <a:pt x="805738" y="690"/>
                  <a:pt x="865574" y="-15153"/>
                  <a:pt x="918744" y="9432"/>
                </a:cubicBezTo>
                <a:cubicBezTo>
                  <a:pt x="959611" y="18060"/>
                  <a:pt x="981784" y="44709"/>
                  <a:pt x="992709" y="76224"/>
                </a:cubicBezTo>
                <a:cubicBezTo>
                  <a:pt x="1041511" y="82923"/>
                  <a:pt x="1069829" y="107516"/>
                  <a:pt x="1087633" y="141048"/>
                </a:cubicBezTo>
                <a:cubicBezTo>
                  <a:pt x="1101926" y="163859"/>
                  <a:pt x="1094703" y="193076"/>
                  <a:pt x="1083384" y="211340"/>
                </a:cubicBezTo>
                <a:cubicBezTo>
                  <a:pt x="1119751" y="245988"/>
                  <a:pt x="1125193" y="275928"/>
                  <a:pt x="1114421" y="318814"/>
                </a:cubicBezTo>
                <a:cubicBezTo>
                  <a:pt x="1101798" y="377338"/>
                  <a:pt x="1040860" y="405695"/>
                  <a:pt x="969030" y="412892"/>
                </a:cubicBezTo>
                <a:cubicBezTo>
                  <a:pt x="971900" y="439590"/>
                  <a:pt x="951730" y="472817"/>
                  <a:pt x="916982" y="493505"/>
                </a:cubicBezTo>
                <a:cubicBezTo>
                  <a:pt x="869193" y="516775"/>
                  <a:pt x="793221" y="530290"/>
                  <a:pt x="739778" y="503266"/>
                </a:cubicBezTo>
                <a:cubicBezTo>
                  <a:pt x="732027" y="541151"/>
                  <a:pt x="673738" y="577235"/>
                  <a:pt x="613144" y="589265"/>
                </a:cubicBezTo>
                <a:cubicBezTo>
                  <a:pt x="545996" y="603319"/>
                  <a:pt x="467255" y="577630"/>
                  <a:pt x="426949" y="536771"/>
                </a:cubicBezTo>
                <a:cubicBezTo>
                  <a:pt x="327913" y="578863"/>
                  <a:pt x="199914" y="567538"/>
                  <a:pt x="150364" y="484907"/>
                </a:cubicBezTo>
                <a:cubicBezTo>
                  <a:pt x="94741" y="489726"/>
                  <a:pt x="44591" y="460979"/>
                  <a:pt x="28756" y="427191"/>
                </a:cubicBezTo>
                <a:cubicBezTo>
                  <a:pt x="21667" y="398419"/>
                  <a:pt x="24990" y="374267"/>
                  <a:pt x="54741" y="349285"/>
                </a:cubicBezTo>
                <a:cubicBezTo>
                  <a:pt x="15512" y="331293"/>
                  <a:pt x="976" y="300981"/>
                  <a:pt x="-130" y="269356"/>
                </a:cubicBezTo>
                <a:cubicBezTo>
                  <a:pt x="5856" y="231070"/>
                  <a:pt x="48628" y="202168"/>
                  <a:pt x="100079" y="198312"/>
                </a:cubicBezTo>
                <a:cubicBezTo>
                  <a:pt x="100393" y="197604"/>
                  <a:pt x="100763" y="197082"/>
                  <a:pt x="101037" y="196439"/>
                </a:cubicBezTo>
                <a:close/>
              </a:path>
              <a:path w="1119188" h="590550" stroke="0" extrusionOk="0">
                <a:moveTo>
                  <a:pt x="89230" y="770532"/>
                </a:moveTo>
                <a:cubicBezTo>
                  <a:pt x="87807" y="779897"/>
                  <a:pt x="82432" y="788026"/>
                  <a:pt x="72826" y="786936"/>
                </a:cubicBezTo>
                <a:cubicBezTo>
                  <a:pt x="63038" y="786370"/>
                  <a:pt x="57500" y="779449"/>
                  <a:pt x="56422" y="770532"/>
                </a:cubicBezTo>
                <a:cubicBezTo>
                  <a:pt x="54974" y="762269"/>
                  <a:pt x="62062" y="753533"/>
                  <a:pt x="72826" y="754128"/>
                </a:cubicBezTo>
                <a:cubicBezTo>
                  <a:pt x="82083" y="754346"/>
                  <a:pt x="90971" y="761883"/>
                  <a:pt x="89230" y="770532"/>
                </a:cubicBezTo>
                <a:close/>
              </a:path>
              <a:path w="1119188" h="590550" stroke="0" extrusionOk="0">
                <a:moveTo>
                  <a:pt x="171379" y="706342"/>
                </a:moveTo>
                <a:cubicBezTo>
                  <a:pt x="170317" y="725466"/>
                  <a:pt x="156033" y="740803"/>
                  <a:pt x="138571" y="739150"/>
                </a:cubicBezTo>
                <a:cubicBezTo>
                  <a:pt x="120536" y="737758"/>
                  <a:pt x="106031" y="723508"/>
                  <a:pt x="105763" y="706342"/>
                </a:cubicBezTo>
                <a:cubicBezTo>
                  <a:pt x="105035" y="690205"/>
                  <a:pt x="118327" y="672649"/>
                  <a:pt x="138571" y="673534"/>
                </a:cubicBezTo>
                <a:cubicBezTo>
                  <a:pt x="159838" y="672709"/>
                  <a:pt x="169808" y="689457"/>
                  <a:pt x="171379" y="706342"/>
                </a:cubicBezTo>
                <a:close/>
              </a:path>
              <a:path w="1119188" h="590550" stroke="0" extrusionOk="0">
                <a:moveTo>
                  <a:pt x="277003" y="619232"/>
                </a:moveTo>
                <a:cubicBezTo>
                  <a:pt x="278187" y="647355"/>
                  <a:pt x="255453" y="670346"/>
                  <a:pt x="227790" y="668445"/>
                </a:cubicBezTo>
                <a:cubicBezTo>
                  <a:pt x="204397" y="666182"/>
                  <a:pt x="174832" y="646676"/>
                  <a:pt x="178577" y="619232"/>
                </a:cubicBezTo>
                <a:cubicBezTo>
                  <a:pt x="179471" y="592785"/>
                  <a:pt x="203343" y="574546"/>
                  <a:pt x="227790" y="570019"/>
                </a:cubicBezTo>
                <a:cubicBezTo>
                  <a:pt x="252661" y="569527"/>
                  <a:pt x="276418" y="590958"/>
                  <a:pt x="277003" y="619232"/>
                </a:cubicBezTo>
                <a:close/>
              </a:path>
              <a:path w="1119188" h="590550" fill="none" stroke="0" extrusionOk="0">
                <a:moveTo>
                  <a:pt x="121582" y="357843"/>
                </a:moveTo>
                <a:cubicBezTo>
                  <a:pt x="100451" y="362108"/>
                  <a:pt x="76720" y="352050"/>
                  <a:pt x="55959" y="346948"/>
                </a:cubicBezTo>
                <a:moveTo>
                  <a:pt x="179484" y="477074"/>
                </a:moveTo>
                <a:cubicBezTo>
                  <a:pt x="170468" y="479803"/>
                  <a:pt x="160044" y="481087"/>
                  <a:pt x="150779" y="482282"/>
                </a:cubicBezTo>
                <a:moveTo>
                  <a:pt x="426897" y="534365"/>
                </a:moveTo>
                <a:cubicBezTo>
                  <a:pt x="419730" y="527444"/>
                  <a:pt x="413903" y="518560"/>
                  <a:pt x="409591" y="510579"/>
                </a:cubicBezTo>
                <a:moveTo>
                  <a:pt x="746824" y="475050"/>
                </a:moveTo>
                <a:cubicBezTo>
                  <a:pt x="745201" y="485390"/>
                  <a:pt x="742706" y="492924"/>
                  <a:pt x="739907" y="501147"/>
                </a:cubicBezTo>
                <a:moveTo>
                  <a:pt x="884184" y="313784"/>
                </a:moveTo>
                <a:cubicBezTo>
                  <a:pt x="935329" y="328487"/>
                  <a:pt x="967457" y="369297"/>
                  <a:pt x="968408" y="411334"/>
                </a:cubicBezTo>
                <a:moveTo>
                  <a:pt x="1082866" y="209891"/>
                </a:moveTo>
                <a:cubicBezTo>
                  <a:pt x="1076977" y="221553"/>
                  <a:pt x="1060798" y="235596"/>
                  <a:pt x="1045352" y="246472"/>
                </a:cubicBezTo>
                <a:moveTo>
                  <a:pt x="992864" y="74174"/>
                </a:moveTo>
                <a:cubicBezTo>
                  <a:pt x="994919" y="79849"/>
                  <a:pt x="994771" y="85765"/>
                  <a:pt x="994833" y="91453"/>
                </a:cubicBezTo>
                <a:moveTo>
                  <a:pt x="753327" y="54024"/>
                </a:moveTo>
                <a:cubicBezTo>
                  <a:pt x="758449" y="44224"/>
                  <a:pt x="765493" y="38794"/>
                  <a:pt x="772550" y="31988"/>
                </a:cubicBezTo>
                <a:moveTo>
                  <a:pt x="573609" y="64523"/>
                </a:moveTo>
                <a:cubicBezTo>
                  <a:pt x="575180" y="57496"/>
                  <a:pt x="578994" y="50589"/>
                  <a:pt x="582910" y="45521"/>
                </a:cubicBezTo>
                <a:moveTo>
                  <a:pt x="362699" y="70975"/>
                </a:moveTo>
                <a:cubicBezTo>
                  <a:pt x="375348" y="76229"/>
                  <a:pt x="385415" y="83004"/>
                  <a:pt x="396379" y="89402"/>
                </a:cubicBezTo>
                <a:moveTo>
                  <a:pt x="106918" y="215837"/>
                </a:moveTo>
                <a:cubicBezTo>
                  <a:pt x="104106" y="209386"/>
                  <a:pt x="101823" y="203907"/>
                  <a:pt x="101037" y="196439"/>
                </a:cubicBezTo>
              </a:path>
            </a:pathLst>
          </a:custGeom>
          <a:solidFill>
            <a:schemeClr val="accent2"/>
          </a:solidFill>
          <a:ln>
            <a:solidFill>
              <a:schemeClr val="accent2"/>
            </a:solidFill>
            <a:extLst>
              <a:ext uri="{C807C97D-BFC1-408E-A445-0C87EB9F89A2}">
                <ask:lineSketchStyleProps xmlns:ask="http://schemas.microsoft.com/office/drawing/2018/sketchyshapes" sd="462865412">
                  <a:prstGeom prst="cloudCallout">
                    <a:avLst>
                      <a:gd name="adj1" fmla="val -43493"/>
                      <a:gd name="adj2" fmla="val 80477"/>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r>
              <a:rPr kumimoji="0" lang="da-DK" sz="1600" b="0" i="0" u="none" strike="noStrike" kern="1200" cap="none" spc="0" normalizeH="0" baseline="0" noProof="0" dirty="0">
                <a:ln>
                  <a:noFill/>
                </a:ln>
                <a:solidFill>
                  <a:srgbClr val="FFFFFF"/>
                </a:solidFill>
                <a:effectLst/>
                <a:uLnTx/>
                <a:uFillTx/>
                <a:latin typeface="Segoe Print" panose="02000600000000000000" pitchFamily="2" charset="0"/>
                <a:ea typeface="+mn-ea"/>
                <a:cs typeface="+mn-cs"/>
              </a:rPr>
              <a:t>How?</a:t>
            </a:r>
          </a:p>
        </p:txBody>
      </p:sp>
      <p:sp>
        <p:nvSpPr>
          <p:cNvPr id="3" name="Tekstfelt 2">
            <a:extLst>
              <a:ext uri="{FF2B5EF4-FFF2-40B4-BE49-F238E27FC236}">
                <a16:creationId xmlns:a16="http://schemas.microsoft.com/office/drawing/2014/main" id="{7FE9F2BE-E42F-3F44-D528-1520D81E6BAD}"/>
              </a:ext>
            </a:extLst>
          </p:cNvPr>
          <p:cNvSpPr txBox="1"/>
          <p:nvPr/>
        </p:nvSpPr>
        <p:spPr>
          <a:xfrm>
            <a:off x="628468" y="3586592"/>
            <a:ext cx="244065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A515D"/>
                </a:solidFill>
                <a:effectLst/>
                <a:uLnTx/>
                <a:uFillTx/>
                <a:latin typeface="Calibri Light"/>
                <a:ea typeface="+mn-ea"/>
                <a:cs typeface="+mn-cs"/>
              </a:rPr>
              <a:t>A NEW REALITY</a:t>
            </a:r>
          </a:p>
        </p:txBody>
      </p:sp>
      <p:sp>
        <p:nvSpPr>
          <p:cNvPr id="10" name="Tekstfelt 9">
            <a:extLst>
              <a:ext uri="{FF2B5EF4-FFF2-40B4-BE49-F238E27FC236}">
                <a16:creationId xmlns:a16="http://schemas.microsoft.com/office/drawing/2014/main" id="{07216D13-6632-FAEA-D3E3-89F15C321FE1}"/>
              </a:ext>
            </a:extLst>
          </p:cNvPr>
          <p:cNvSpPr txBox="1"/>
          <p:nvPr/>
        </p:nvSpPr>
        <p:spPr>
          <a:xfrm>
            <a:off x="604453" y="4070096"/>
            <a:ext cx="3173986"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A515D"/>
                </a:solidFill>
                <a:effectLst/>
                <a:uLnTx/>
                <a:uFillTx/>
                <a:latin typeface="Calibri Light"/>
                <a:ea typeface="+mn-ea"/>
                <a:cs typeface="+mn-cs"/>
              </a:rPr>
              <a:t>FROM </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central and ideal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production</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with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few</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units </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TO</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decentralized</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non-</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consistent</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nd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autonomus</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production</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with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many</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ssets</a:t>
            </a:r>
          </a:p>
        </p:txBody>
      </p:sp>
      <p:pic>
        <p:nvPicPr>
          <p:cNvPr id="16" name="Billede 15">
            <a:extLst>
              <a:ext uri="{FF2B5EF4-FFF2-40B4-BE49-F238E27FC236}">
                <a16:creationId xmlns:a16="http://schemas.microsoft.com/office/drawing/2014/main" id="{87FEC29A-2BAE-60C2-DB36-686B507593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9125" y="3403259"/>
            <a:ext cx="485508" cy="485508"/>
          </a:xfrm>
          <a:prstGeom prst="rect">
            <a:avLst/>
          </a:prstGeom>
        </p:spPr>
      </p:pic>
      <p:pic>
        <p:nvPicPr>
          <p:cNvPr id="17" name="Billede 16" descr="Et billede, der indeholder tekst&#10;&#10;Automatisk genereret beskrivelse">
            <a:extLst>
              <a:ext uri="{FF2B5EF4-FFF2-40B4-BE49-F238E27FC236}">
                <a16:creationId xmlns:a16="http://schemas.microsoft.com/office/drawing/2014/main" id="{AD764FD4-F26C-F615-7AE5-B3F840279D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15462" y="3415010"/>
            <a:ext cx="485507" cy="485507"/>
          </a:xfrm>
          <a:prstGeom prst="rect">
            <a:avLst/>
          </a:prstGeom>
        </p:spPr>
      </p:pic>
      <p:cxnSp>
        <p:nvCxnSpPr>
          <p:cNvPr id="21" name="Lige pilforbindelse 20">
            <a:extLst>
              <a:ext uri="{FF2B5EF4-FFF2-40B4-BE49-F238E27FC236}">
                <a16:creationId xmlns:a16="http://schemas.microsoft.com/office/drawing/2014/main" id="{C2A6AAFF-8B14-3DB2-502A-AB0E82FAC752}"/>
              </a:ext>
            </a:extLst>
          </p:cNvPr>
          <p:cNvCxnSpPr/>
          <p:nvPr/>
        </p:nvCxnSpPr>
        <p:spPr>
          <a:xfrm>
            <a:off x="2782446" y="3725091"/>
            <a:ext cx="180000"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Højre klammeparentes 21">
            <a:extLst>
              <a:ext uri="{FF2B5EF4-FFF2-40B4-BE49-F238E27FC236}">
                <a16:creationId xmlns:a16="http://schemas.microsoft.com/office/drawing/2014/main" id="{F4E11259-9070-F04D-543F-EACEFD5A7BEB}"/>
              </a:ext>
            </a:extLst>
          </p:cNvPr>
          <p:cNvSpPr/>
          <p:nvPr/>
        </p:nvSpPr>
        <p:spPr>
          <a:xfrm rot="5400000">
            <a:off x="1992443" y="3340082"/>
            <a:ext cx="253497" cy="3318494"/>
          </a:xfrm>
          <a:custGeom>
            <a:avLst/>
            <a:gdLst>
              <a:gd name="connsiteX0" fmla="*/ 0 w 253497"/>
              <a:gd name="connsiteY0" fmla="*/ 0 h 3318494"/>
              <a:gd name="connsiteX1" fmla="*/ 126749 w 253497"/>
              <a:gd name="connsiteY1" fmla="*/ 165977 h 3318494"/>
              <a:gd name="connsiteX2" fmla="*/ 126749 w 253497"/>
              <a:gd name="connsiteY2" fmla="*/ 1493270 h 3318494"/>
              <a:gd name="connsiteX3" fmla="*/ 253498 w 253497"/>
              <a:gd name="connsiteY3" fmla="*/ 1659247 h 3318494"/>
              <a:gd name="connsiteX4" fmla="*/ 126749 w 253497"/>
              <a:gd name="connsiteY4" fmla="*/ 1825224 h 3318494"/>
              <a:gd name="connsiteX5" fmla="*/ 126749 w 253497"/>
              <a:gd name="connsiteY5" fmla="*/ 3152517 h 3318494"/>
              <a:gd name="connsiteX6" fmla="*/ 0 w 253497"/>
              <a:gd name="connsiteY6" fmla="*/ 3318494 h 3318494"/>
              <a:gd name="connsiteX7" fmla="*/ 0 w 253497"/>
              <a:gd name="connsiteY7" fmla="*/ 0 h 3318494"/>
              <a:gd name="connsiteX0" fmla="*/ 0 w 253497"/>
              <a:gd name="connsiteY0" fmla="*/ 0 h 3318494"/>
              <a:gd name="connsiteX1" fmla="*/ 126749 w 253497"/>
              <a:gd name="connsiteY1" fmla="*/ 165977 h 3318494"/>
              <a:gd name="connsiteX2" fmla="*/ 126749 w 253497"/>
              <a:gd name="connsiteY2" fmla="*/ 1493270 h 3318494"/>
              <a:gd name="connsiteX3" fmla="*/ 253498 w 253497"/>
              <a:gd name="connsiteY3" fmla="*/ 1659247 h 3318494"/>
              <a:gd name="connsiteX4" fmla="*/ 126749 w 253497"/>
              <a:gd name="connsiteY4" fmla="*/ 1825224 h 3318494"/>
              <a:gd name="connsiteX5" fmla="*/ 126749 w 253497"/>
              <a:gd name="connsiteY5" fmla="*/ 3152517 h 3318494"/>
              <a:gd name="connsiteX6" fmla="*/ 0 w 253497"/>
              <a:gd name="connsiteY6" fmla="*/ 3318494 h 331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497" h="3318494" stroke="0" extrusionOk="0">
                <a:moveTo>
                  <a:pt x="0" y="0"/>
                </a:moveTo>
                <a:cubicBezTo>
                  <a:pt x="83272" y="-2499"/>
                  <a:pt x="145070" y="74472"/>
                  <a:pt x="126749" y="165977"/>
                </a:cubicBezTo>
                <a:cubicBezTo>
                  <a:pt x="184476" y="557733"/>
                  <a:pt x="51735" y="968223"/>
                  <a:pt x="126749" y="1493270"/>
                </a:cubicBezTo>
                <a:cubicBezTo>
                  <a:pt x="129010" y="1591279"/>
                  <a:pt x="188731" y="1658755"/>
                  <a:pt x="253498" y="1659247"/>
                </a:cubicBezTo>
                <a:cubicBezTo>
                  <a:pt x="177996" y="1641855"/>
                  <a:pt x="134636" y="1733949"/>
                  <a:pt x="126749" y="1825224"/>
                </a:cubicBezTo>
                <a:cubicBezTo>
                  <a:pt x="52161" y="2399793"/>
                  <a:pt x="187671" y="2904432"/>
                  <a:pt x="126749" y="3152517"/>
                </a:cubicBezTo>
                <a:cubicBezTo>
                  <a:pt x="118010" y="3241870"/>
                  <a:pt x="65189" y="3306457"/>
                  <a:pt x="0" y="3318494"/>
                </a:cubicBezTo>
                <a:cubicBezTo>
                  <a:pt x="-33383" y="2332098"/>
                  <a:pt x="44105" y="355320"/>
                  <a:pt x="0" y="0"/>
                </a:cubicBezTo>
                <a:close/>
              </a:path>
              <a:path w="253497" h="3318494" fill="none" extrusionOk="0">
                <a:moveTo>
                  <a:pt x="0" y="0"/>
                </a:moveTo>
                <a:cubicBezTo>
                  <a:pt x="72335" y="-7659"/>
                  <a:pt x="110261" y="78752"/>
                  <a:pt x="126749" y="165977"/>
                </a:cubicBezTo>
                <a:cubicBezTo>
                  <a:pt x="114742" y="368675"/>
                  <a:pt x="63257" y="963068"/>
                  <a:pt x="126749" y="1493270"/>
                </a:cubicBezTo>
                <a:cubicBezTo>
                  <a:pt x="121616" y="1578920"/>
                  <a:pt x="180071" y="1655470"/>
                  <a:pt x="253498" y="1659247"/>
                </a:cubicBezTo>
                <a:cubicBezTo>
                  <a:pt x="173898" y="1646045"/>
                  <a:pt x="131380" y="1719993"/>
                  <a:pt x="126749" y="1825224"/>
                </a:cubicBezTo>
                <a:cubicBezTo>
                  <a:pt x="85514" y="2002526"/>
                  <a:pt x="51611" y="2766318"/>
                  <a:pt x="126749" y="3152517"/>
                </a:cubicBezTo>
                <a:cubicBezTo>
                  <a:pt x="129521" y="3230699"/>
                  <a:pt x="64114" y="3311760"/>
                  <a:pt x="0" y="3318494"/>
                </a:cubicBezTo>
              </a:path>
              <a:path w="253497" h="3318494" fill="none" stroke="0" extrusionOk="0">
                <a:moveTo>
                  <a:pt x="0" y="0"/>
                </a:moveTo>
                <a:cubicBezTo>
                  <a:pt x="72190" y="-7190"/>
                  <a:pt x="114420" y="64568"/>
                  <a:pt x="126749" y="165977"/>
                </a:cubicBezTo>
                <a:cubicBezTo>
                  <a:pt x="189006" y="522056"/>
                  <a:pt x="115355" y="1116472"/>
                  <a:pt x="126749" y="1493270"/>
                </a:cubicBezTo>
                <a:cubicBezTo>
                  <a:pt x="126105" y="1588134"/>
                  <a:pt x="186890" y="1658374"/>
                  <a:pt x="253498" y="1659247"/>
                </a:cubicBezTo>
                <a:cubicBezTo>
                  <a:pt x="183250" y="1677052"/>
                  <a:pt x="123474" y="1733656"/>
                  <a:pt x="126749" y="1825224"/>
                </a:cubicBezTo>
                <a:cubicBezTo>
                  <a:pt x="208739" y="2196177"/>
                  <a:pt x="54160" y="2715229"/>
                  <a:pt x="126749" y="3152517"/>
                </a:cubicBezTo>
                <a:cubicBezTo>
                  <a:pt x="116755" y="3250990"/>
                  <a:pt x="61351" y="3310640"/>
                  <a:pt x="0" y="3318494"/>
                </a:cubicBezTo>
              </a:path>
            </a:pathLst>
          </a:custGeom>
          <a:ln>
            <a:solidFill>
              <a:schemeClr val="accent2"/>
            </a:solidFill>
            <a:extLst>
              <a:ext uri="{C807C97D-BFC1-408E-A445-0C87EB9F89A2}">
                <ask:lineSketchStyleProps xmlns:ask="http://schemas.microsoft.com/office/drawing/2018/sketchyshapes" sd="1393791798">
                  <a:prstGeom prst="rightBrace">
                    <a:avLst>
                      <a:gd name="adj1" fmla="val 65475"/>
                      <a:gd name="adj2" fmla="val 50000"/>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Calibri Light"/>
              <a:ea typeface="+mn-ea"/>
              <a:cs typeface="+mn-cs"/>
            </a:endParaRPr>
          </a:p>
        </p:txBody>
      </p:sp>
      <p:pic>
        <p:nvPicPr>
          <p:cNvPr id="23" name="Billede 22">
            <a:extLst>
              <a:ext uri="{FF2B5EF4-FFF2-40B4-BE49-F238E27FC236}">
                <a16:creationId xmlns:a16="http://schemas.microsoft.com/office/drawing/2014/main" id="{E7CE6121-526A-7F4B-382F-D962EBDED3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73268">
            <a:off x="3095889" y="5264087"/>
            <a:ext cx="619675" cy="633163"/>
          </a:xfrm>
          <a:prstGeom prst="rect">
            <a:avLst/>
          </a:prstGeom>
        </p:spPr>
      </p:pic>
      <p:pic>
        <p:nvPicPr>
          <p:cNvPr id="24" name="Billede 23">
            <a:extLst>
              <a:ext uri="{FF2B5EF4-FFF2-40B4-BE49-F238E27FC236}">
                <a16:creationId xmlns:a16="http://schemas.microsoft.com/office/drawing/2014/main" id="{FF3810DD-E55C-944A-AFA6-BA21D52A16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4256" y="5307852"/>
            <a:ext cx="485334" cy="485334"/>
          </a:xfrm>
          <a:prstGeom prst="rect">
            <a:avLst/>
          </a:prstGeom>
        </p:spPr>
      </p:pic>
      <p:pic>
        <p:nvPicPr>
          <p:cNvPr id="26" name="Billede 25" descr="Et billede, der indeholder design&#10;&#10;Automatisk genereret beskrivelse med mellem tillid">
            <a:extLst>
              <a:ext uri="{FF2B5EF4-FFF2-40B4-BE49-F238E27FC236}">
                <a16:creationId xmlns:a16="http://schemas.microsoft.com/office/drawing/2014/main" id="{4A67BD18-33E6-4DB4-4A37-2FAE744C43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8468" y="5318641"/>
            <a:ext cx="524056" cy="524056"/>
          </a:xfrm>
          <a:prstGeom prst="rect">
            <a:avLst/>
          </a:prstGeom>
        </p:spPr>
      </p:pic>
      <p:sp>
        <p:nvSpPr>
          <p:cNvPr id="27" name="Tekstfelt 26">
            <a:extLst>
              <a:ext uri="{FF2B5EF4-FFF2-40B4-BE49-F238E27FC236}">
                <a16:creationId xmlns:a16="http://schemas.microsoft.com/office/drawing/2014/main" id="{1CAA5D16-8DC7-5B64-7C77-D60390B6675A}"/>
              </a:ext>
            </a:extLst>
          </p:cNvPr>
          <p:cNvSpPr txBox="1"/>
          <p:nvPr/>
        </p:nvSpPr>
        <p:spPr>
          <a:xfrm>
            <a:off x="368559" y="5962737"/>
            <a:ext cx="10683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A98F"/>
                </a:solidFill>
                <a:effectLst/>
                <a:uLnTx/>
                <a:uFillTx/>
                <a:latin typeface="Segoe Print" panose="02000600000000000000" pitchFamily="2" charset="0"/>
                <a:ea typeface="+mn-ea"/>
                <a:cs typeface="+mn-cs"/>
              </a:rPr>
              <a:t>Balancing</a:t>
            </a:r>
          </a:p>
        </p:txBody>
      </p:sp>
      <p:sp>
        <p:nvSpPr>
          <p:cNvPr id="28" name="Tekstfelt 27">
            <a:extLst>
              <a:ext uri="{FF2B5EF4-FFF2-40B4-BE49-F238E27FC236}">
                <a16:creationId xmlns:a16="http://schemas.microsoft.com/office/drawing/2014/main" id="{1D670F7A-32DB-C198-38DF-8372D457F3D6}"/>
              </a:ext>
            </a:extLst>
          </p:cNvPr>
          <p:cNvSpPr txBox="1"/>
          <p:nvPr/>
        </p:nvSpPr>
        <p:spPr>
          <a:xfrm>
            <a:off x="1562768" y="5967736"/>
            <a:ext cx="10683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0A98F"/>
                </a:solidFill>
                <a:effectLst/>
                <a:uLnTx/>
                <a:uFillTx/>
                <a:latin typeface="Segoe Print" panose="02000600000000000000" pitchFamily="2" charset="0"/>
                <a:ea typeface="+mn-ea"/>
                <a:cs typeface="+mn-cs"/>
              </a:rPr>
              <a:t>Stability</a:t>
            </a:r>
            <a:endParaRPr kumimoji="0" lang="da-DK" sz="1400" b="0" i="0" u="none" strike="noStrike" kern="1200" cap="none" spc="0" normalizeH="0" baseline="0" noProof="0" dirty="0">
              <a:ln>
                <a:noFill/>
              </a:ln>
              <a:solidFill>
                <a:srgbClr val="00A98F"/>
              </a:solidFill>
              <a:effectLst/>
              <a:uLnTx/>
              <a:uFillTx/>
              <a:latin typeface="Segoe Print" panose="02000600000000000000" pitchFamily="2" charset="0"/>
              <a:ea typeface="+mn-ea"/>
              <a:cs typeface="+mn-cs"/>
            </a:endParaRPr>
          </a:p>
        </p:txBody>
      </p:sp>
      <p:sp>
        <p:nvSpPr>
          <p:cNvPr id="29" name="Tekstfelt 28">
            <a:extLst>
              <a:ext uri="{FF2B5EF4-FFF2-40B4-BE49-F238E27FC236}">
                <a16:creationId xmlns:a16="http://schemas.microsoft.com/office/drawing/2014/main" id="{250E1F8A-3621-45A2-5922-F6876C45F268}"/>
              </a:ext>
            </a:extLst>
          </p:cNvPr>
          <p:cNvSpPr txBox="1"/>
          <p:nvPr/>
        </p:nvSpPr>
        <p:spPr>
          <a:xfrm>
            <a:off x="2872446" y="5968989"/>
            <a:ext cx="10683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0A98F"/>
                </a:solidFill>
                <a:effectLst/>
                <a:uLnTx/>
                <a:uFillTx/>
                <a:latin typeface="Segoe Print" panose="02000600000000000000" pitchFamily="2" charset="0"/>
                <a:ea typeface="+mn-ea"/>
                <a:cs typeface="+mn-cs"/>
              </a:rPr>
              <a:t>Quality</a:t>
            </a:r>
            <a:endParaRPr kumimoji="0" lang="da-DK" sz="1400" b="0" i="0" u="none" strike="noStrike" kern="1200" cap="none" spc="0" normalizeH="0" baseline="0" noProof="0" dirty="0">
              <a:ln>
                <a:noFill/>
              </a:ln>
              <a:solidFill>
                <a:srgbClr val="00A98F"/>
              </a:solidFill>
              <a:effectLst/>
              <a:uLnTx/>
              <a:uFillTx/>
              <a:latin typeface="Segoe Print" panose="02000600000000000000" pitchFamily="2" charset="0"/>
              <a:ea typeface="+mn-ea"/>
              <a:cs typeface="+mn-cs"/>
            </a:endParaRPr>
          </a:p>
        </p:txBody>
      </p:sp>
      <p:sp>
        <p:nvSpPr>
          <p:cNvPr id="30" name="Rektangel 29">
            <a:extLst>
              <a:ext uri="{FF2B5EF4-FFF2-40B4-BE49-F238E27FC236}">
                <a16:creationId xmlns:a16="http://schemas.microsoft.com/office/drawing/2014/main" id="{D64A59BB-9A55-B0DD-002A-AE4A03092AA3}"/>
              </a:ext>
            </a:extLst>
          </p:cNvPr>
          <p:cNvSpPr/>
          <p:nvPr/>
        </p:nvSpPr>
        <p:spPr>
          <a:xfrm>
            <a:off x="3992580" y="2327543"/>
            <a:ext cx="45719" cy="40370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Calibri Light"/>
              <a:ea typeface="+mn-ea"/>
              <a:cs typeface="+mn-cs"/>
            </a:endParaRPr>
          </a:p>
        </p:txBody>
      </p:sp>
      <p:sp>
        <p:nvSpPr>
          <p:cNvPr id="31" name="Rektangel 30">
            <a:extLst>
              <a:ext uri="{FF2B5EF4-FFF2-40B4-BE49-F238E27FC236}">
                <a16:creationId xmlns:a16="http://schemas.microsoft.com/office/drawing/2014/main" id="{707E8868-197A-2313-A660-62861AA1C9A6}"/>
              </a:ext>
            </a:extLst>
          </p:cNvPr>
          <p:cNvSpPr/>
          <p:nvPr/>
        </p:nvSpPr>
        <p:spPr>
          <a:xfrm>
            <a:off x="7915492" y="2327542"/>
            <a:ext cx="45719" cy="40370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750"/>
              </a:spcBef>
              <a:spcAft>
                <a:spcPts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Calibri Light"/>
              <a:ea typeface="+mn-ea"/>
              <a:cs typeface="+mn-cs"/>
            </a:endParaRPr>
          </a:p>
        </p:txBody>
      </p:sp>
      <p:pic>
        <p:nvPicPr>
          <p:cNvPr id="33" name="Billede 32" descr="Et billede, der indeholder Grafik, cirkel, kunst, design&#10;&#10;Automatisk genereret beskrivelse">
            <a:extLst>
              <a:ext uri="{FF2B5EF4-FFF2-40B4-BE49-F238E27FC236}">
                <a16:creationId xmlns:a16="http://schemas.microsoft.com/office/drawing/2014/main" id="{64869953-B3A2-595A-3F2D-6E71D3B872C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50050" y="5433186"/>
            <a:ext cx="720000" cy="720000"/>
          </a:xfrm>
          <a:prstGeom prst="rect">
            <a:avLst/>
          </a:prstGeom>
        </p:spPr>
      </p:pic>
      <p:pic>
        <p:nvPicPr>
          <p:cNvPr id="35" name="Billede 34" descr="Et billede, der indeholder cirkel, kunst, Fraktalkunst, Grafik&#10;&#10;Automatisk genereret beskrivelse">
            <a:extLst>
              <a:ext uri="{FF2B5EF4-FFF2-40B4-BE49-F238E27FC236}">
                <a16:creationId xmlns:a16="http://schemas.microsoft.com/office/drawing/2014/main" id="{1E0943F6-FA2A-876B-A669-0ED374CC23C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14982" y="3636068"/>
            <a:ext cx="720000" cy="720000"/>
          </a:xfrm>
          <a:prstGeom prst="rect">
            <a:avLst/>
          </a:prstGeom>
        </p:spPr>
      </p:pic>
      <p:pic>
        <p:nvPicPr>
          <p:cNvPr id="37" name="Billede 36" descr="Et billede, der indeholder design, skærmbillede&#10;&#10;Automatisk genereret beskrivelse">
            <a:extLst>
              <a:ext uri="{FF2B5EF4-FFF2-40B4-BE49-F238E27FC236}">
                <a16:creationId xmlns:a16="http://schemas.microsoft.com/office/drawing/2014/main" id="{0DE8518D-B161-44F7-1F02-CA0DE19EDB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291249" y="4554550"/>
            <a:ext cx="720000" cy="720000"/>
          </a:xfrm>
          <a:prstGeom prst="rect">
            <a:avLst/>
          </a:prstGeom>
        </p:spPr>
      </p:pic>
      <p:sp>
        <p:nvSpPr>
          <p:cNvPr id="38" name="Tekstfelt 37">
            <a:extLst>
              <a:ext uri="{FF2B5EF4-FFF2-40B4-BE49-F238E27FC236}">
                <a16:creationId xmlns:a16="http://schemas.microsoft.com/office/drawing/2014/main" id="{8329D2E8-A958-13A9-EF08-CCEF5057CEF1}"/>
              </a:ext>
            </a:extLst>
          </p:cNvPr>
          <p:cNvSpPr txBox="1"/>
          <p:nvPr/>
        </p:nvSpPr>
        <p:spPr>
          <a:xfrm>
            <a:off x="5147642" y="3725091"/>
            <a:ext cx="257500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Requirements</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 for Generators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RfG</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a:t>
            </a:r>
          </a:p>
        </p:txBody>
      </p:sp>
      <p:sp>
        <p:nvSpPr>
          <p:cNvPr id="39" name="Tekstfelt 38">
            <a:extLst>
              <a:ext uri="{FF2B5EF4-FFF2-40B4-BE49-F238E27FC236}">
                <a16:creationId xmlns:a16="http://schemas.microsoft.com/office/drawing/2014/main" id="{D8928624-2604-E3DA-3C40-E67EB4A12392}"/>
              </a:ext>
            </a:extLst>
          </p:cNvPr>
          <p:cNvSpPr txBox="1"/>
          <p:nvPr/>
        </p:nvSpPr>
        <p:spPr>
          <a:xfrm>
            <a:off x="5147642" y="3964169"/>
            <a:ext cx="257500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Production</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facilities</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gt; 0,8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8B8B"/>
                </a:solidFill>
                <a:effectLst/>
                <a:uLnTx/>
                <a:uFillTx/>
                <a:latin typeface="Calibri Light"/>
                <a:ea typeface="+mn-ea"/>
                <a:cs typeface="+mn-cs"/>
                <a:sym typeface="Wingdings" panose="05000000000000000000" pitchFamily="2" charset="2"/>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sym typeface="Wingdings" panose="05000000000000000000" pitchFamily="2" charset="2"/>
              </a:rPr>
              <a:t>facility</a:t>
            </a:r>
            <a:r>
              <a:rPr kumimoji="0" lang="da-DK" sz="1400" b="0" i="0" u="none" strike="noStrike" kern="1200" cap="none" spc="0" normalizeH="0" baseline="0" noProof="0" dirty="0">
                <a:ln>
                  <a:noFill/>
                </a:ln>
                <a:solidFill>
                  <a:srgbClr val="008B8B"/>
                </a:solidFill>
                <a:effectLst/>
                <a:uLnTx/>
                <a:uFillTx/>
                <a:latin typeface="Calibri Light"/>
                <a:ea typeface="+mn-ea"/>
                <a:cs typeface="+mn-cs"/>
                <a:sym typeface="Wingdings" panose="05000000000000000000" pitchFamily="2" charset="2"/>
              </a:rPr>
              <a:t>, 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sym typeface="Wingdings" panose="05000000000000000000" pitchFamily="2" charset="2"/>
              </a:rPr>
              <a:t>requirements</a:t>
            </a:r>
            <a:endParaRPr kumimoji="0" lang="da-DK" sz="1400" b="0" i="0" u="none" strike="noStrike" kern="1200" cap="none" spc="0" normalizeH="0" baseline="0" noProof="0" dirty="0">
              <a:ln>
                <a:noFill/>
              </a:ln>
              <a:solidFill>
                <a:srgbClr val="008B8B"/>
              </a:solidFill>
              <a:effectLst/>
              <a:uLnTx/>
              <a:uFillTx/>
              <a:latin typeface="Calibri Light"/>
              <a:ea typeface="+mn-ea"/>
              <a:cs typeface="+mn-cs"/>
            </a:endParaRPr>
          </a:p>
        </p:txBody>
      </p:sp>
      <p:sp>
        <p:nvSpPr>
          <p:cNvPr id="40" name="Tekstfelt 39">
            <a:extLst>
              <a:ext uri="{FF2B5EF4-FFF2-40B4-BE49-F238E27FC236}">
                <a16:creationId xmlns:a16="http://schemas.microsoft.com/office/drawing/2014/main" id="{F0CC59C4-65C7-7ABA-4589-5D4BE8C9D1D6}"/>
              </a:ext>
            </a:extLst>
          </p:cNvPr>
          <p:cNvSpPr txBox="1"/>
          <p:nvPr/>
        </p:nvSpPr>
        <p:spPr>
          <a:xfrm>
            <a:off x="5125317" y="4547085"/>
            <a:ext cx="257500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A515D"/>
                </a:solidFill>
                <a:effectLst/>
                <a:uLnTx/>
                <a:uFillTx/>
                <a:latin typeface="Calibri Light"/>
                <a:ea typeface="+mn-ea"/>
                <a:cs typeface="+mn-cs"/>
              </a:rPr>
              <a:t>Demand Connection Code (DCC)</a:t>
            </a:r>
          </a:p>
        </p:txBody>
      </p:sp>
      <p:sp>
        <p:nvSpPr>
          <p:cNvPr id="41" name="Tekstfelt 40">
            <a:extLst>
              <a:ext uri="{FF2B5EF4-FFF2-40B4-BE49-F238E27FC236}">
                <a16:creationId xmlns:a16="http://schemas.microsoft.com/office/drawing/2014/main" id="{549A88B4-DC0E-43F4-7DCC-96DD4E786946}"/>
              </a:ext>
            </a:extLst>
          </p:cNvPr>
          <p:cNvSpPr txBox="1"/>
          <p:nvPr/>
        </p:nvSpPr>
        <p:spPr>
          <a:xfrm>
            <a:off x="5125317" y="4786163"/>
            <a:ext cx="257500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8B8B"/>
                </a:solidFill>
                <a:effectLst/>
                <a:uLnTx/>
                <a:uFillTx/>
                <a:latin typeface="Calibri Light"/>
                <a:ea typeface="+mn-ea"/>
                <a:cs typeface="+mn-cs"/>
              </a:rPr>
              <a:t>Covers demand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facilities</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connected</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to the TSO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grid</a:t>
            </a:r>
            <a:endParaRPr kumimoji="0" lang="da-DK" sz="1400" b="0" i="0" u="none" strike="noStrike" kern="1200" cap="none" spc="0" normalizeH="0" baseline="0" noProof="0" dirty="0">
              <a:ln>
                <a:noFill/>
              </a:ln>
              <a:solidFill>
                <a:srgbClr val="008B8B"/>
              </a:solidFill>
              <a:effectLst/>
              <a:uLnTx/>
              <a:uFillTx/>
              <a:latin typeface="Calibri Light"/>
              <a:ea typeface="+mn-ea"/>
              <a:cs typeface="+mn-cs"/>
            </a:endParaRPr>
          </a:p>
        </p:txBody>
      </p:sp>
      <p:sp>
        <p:nvSpPr>
          <p:cNvPr id="42" name="Tekstfelt 41">
            <a:extLst>
              <a:ext uri="{FF2B5EF4-FFF2-40B4-BE49-F238E27FC236}">
                <a16:creationId xmlns:a16="http://schemas.microsoft.com/office/drawing/2014/main" id="{20A8D38D-AB84-4E9F-A4B6-9F0D5D8867A6}"/>
              </a:ext>
            </a:extLst>
          </p:cNvPr>
          <p:cNvSpPr txBox="1"/>
          <p:nvPr/>
        </p:nvSpPr>
        <p:spPr>
          <a:xfrm>
            <a:off x="5125317" y="5489765"/>
            <a:ext cx="257500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A515D"/>
                </a:solidFill>
                <a:effectLst/>
                <a:uLnTx/>
                <a:uFillTx/>
                <a:latin typeface="Calibri Light"/>
                <a:ea typeface="+mn-ea"/>
                <a:cs typeface="+mn-cs"/>
              </a:rPr>
              <a:t>Technical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Regulations</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 </a:t>
            </a:r>
            <a:r>
              <a:rPr kumimoji="0" lang="da-DK" sz="1000" b="0" i="1" u="none" strike="noStrike" kern="1200" cap="none" spc="0" normalizeH="0" baseline="0" noProof="0" dirty="0">
                <a:ln>
                  <a:noFill/>
                </a:ln>
                <a:solidFill>
                  <a:srgbClr val="0A515D"/>
                </a:solidFill>
                <a:effectLst/>
                <a:uLnTx/>
                <a:uFillTx/>
                <a:latin typeface="Calibri Light"/>
                <a:ea typeface="+mn-ea"/>
                <a:cs typeface="+mn-cs"/>
              </a:rPr>
              <a:t>(tekniske forskrifter)</a:t>
            </a:r>
            <a:endParaRPr kumimoji="0" lang="da-DK" sz="1400" b="0" i="1" u="none" strike="noStrike" kern="1200" cap="none" spc="0" normalizeH="0" baseline="0" noProof="0" dirty="0">
              <a:ln>
                <a:noFill/>
              </a:ln>
              <a:solidFill>
                <a:srgbClr val="0A515D"/>
              </a:solidFill>
              <a:effectLst/>
              <a:uLnTx/>
              <a:uFillTx/>
              <a:latin typeface="Calibri Light"/>
              <a:ea typeface="+mn-ea"/>
              <a:cs typeface="+mn-cs"/>
            </a:endParaRPr>
          </a:p>
        </p:txBody>
      </p:sp>
      <p:sp>
        <p:nvSpPr>
          <p:cNvPr id="43" name="Tekstfelt 42">
            <a:extLst>
              <a:ext uri="{FF2B5EF4-FFF2-40B4-BE49-F238E27FC236}">
                <a16:creationId xmlns:a16="http://schemas.microsoft.com/office/drawing/2014/main" id="{EF131D85-2FC5-3432-0D24-3C53B0B537B6}"/>
              </a:ext>
            </a:extLst>
          </p:cNvPr>
          <p:cNvSpPr txBox="1"/>
          <p:nvPr/>
        </p:nvSpPr>
        <p:spPr>
          <a:xfrm>
            <a:off x="5125317" y="5728843"/>
            <a:ext cx="257500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8B8B"/>
                </a:solidFill>
                <a:effectLst/>
                <a:uLnTx/>
                <a:uFillTx/>
                <a:latin typeface="Calibri Light"/>
                <a:ea typeface="+mn-ea"/>
                <a:cs typeface="+mn-cs"/>
              </a:rPr>
              <a:t>Technical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regulations</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fill</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the holes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that</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EU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regulations</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do not cover</a:t>
            </a:r>
          </a:p>
        </p:txBody>
      </p:sp>
      <p:sp>
        <p:nvSpPr>
          <p:cNvPr id="44" name="Tekstfelt 43">
            <a:extLst>
              <a:ext uri="{FF2B5EF4-FFF2-40B4-BE49-F238E27FC236}">
                <a16:creationId xmlns:a16="http://schemas.microsoft.com/office/drawing/2014/main" id="{243C25A8-9E37-D468-D8BE-8CCFAB579AC1}"/>
              </a:ext>
            </a:extLst>
          </p:cNvPr>
          <p:cNvSpPr txBox="1"/>
          <p:nvPr/>
        </p:nvSpPr>
        <p:spPr>
          <a:xfrm>
            <a:off x="8437821" y="3583115"/>
            <a:ext cx="2802128" cy="276999"/>
          </a:xfrm>
          <a:prstGeom prst="rect">
            <a:avLst/>
          </a:prstGeom>
          <a:noFill/>
        </p:spPr>
        <p:txBody>
          <a:bodyPr wrap="square" lIns="0" tIns="0" rIns="0" bIns="0" rtlCol="0">
            <a:spAutoFit/>
          </a:bodyPr>
          <a:lstStyle>
            <a:defPPr>
              <a:defRPr lang="en-US"/>
            </a:defPPr>
            <a:lvl1pPr>
              <a:defRPr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A515D"/>
                </a:solidFill>
                <a:effectLst/>
                <a:uLnTx/>
                <a:uFillTx/>
                <a:latin typeface="Calibri Light"/>
                <a:ea typeface="+mn-ea"/>
                <a:cs typeface="+mn-cs"/>
              </a:rPr>
              <a:t>WE REGULATE, SO WE CAN…</a:t>
            </a:r>
          </a:p>
        </p:txBody>
      </p:sp>
      <p:pic>
        <p:nvPicPr>
          <p:cNvPr id="46" name="Billede 45" descr="Et billede, der indeholder cirkel, Grafik, kunst&#10;&#10;Automatisk genereret beskrivelse">
            <a:extLst>
              <a:ext uri="{FF2B5EF4-FFF2-40B4-BE49-F238E27FC236}">
                <a16:creationId xmlns:a16="http://schemas.microsoft.com/office/drawing/2014/main" id="{0FCE64A6-2A2B-6B39-0618-A9FC7ED5BF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08277" y="4868287"/>
            <a:ext cx="540000" cy="540000"/>
          </a:xfrm>
          <a:prstGeom prst="rect">
            <a:avLst/>
          </a:prstGeom>
        </p:spPr>
      </p:pic>
      <p:pic>
        <p:nvPicPr>
          <p:cNvPr id="48" name="Billede 47" descr="Et billede, der indeholder Rektangel, design, skærmbillede, linje/række&#10;&#10;Automatisk genereret beskrivelse">
            <a:extLst>
              <a:ext uri="{FF2B5EF4-FFF2-40B4-BE49-F238E27FC236}">
                <a16:creationId xmlns:a16="http://schemas.microsoft.com/office/drawing/2014/main" id="{02E84903-F5D9-F822-1674-B5CDF5CE3DA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17337" y="5567911"/>
            <a:ext cx="540000" cy="540000"/>
          </a:xfrm>
          <a:prstGeom prst="rect">
            <a:avLst/>
          </a:prstGeom>
        </p:spPr>
      </p:pic>
      <p:pic>
        <p:nvPicPr>
          <p:cNvPr id="50" name="Billede 49">
            <a:extLst>
              <a:ext uri="{FF2B5EF4-FFF2-40B4-BE49-F238E27FC236}">
                <a16:creationId xmlns:a16="http://schemas.microsoft.com/office/drawing/2014/main" id="{D5669562-C85F-730B-4429-101FDC0DA6D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08277" y="4108513"/>
            <a:ext cx="540000" cy="540000"/>
          </a:xfrm>
          <a:prstGeom prst="rect">
            <a:avLst/>
          </a:prstGeom>
        </p:spPr>
      </p:pic>
      <p:sp>
        <p:nvSpPr>
          <p:cNvPr id="52" name="Tekstfelt 51">
            <a:extLst>
              <a:ext uri="{FF2B5EF4-FFF2-40B4-BE49-F238E27FC236}">
                <a16:creationId xmlns:a16="http://schemas.microsoft.com/office/drawing/2014/main" id="{654D5C95-4679-96B4-E0BB-C7656C0A4872}"/>
              </a:ext>
            </a:extLst>
          </p:cNvPr>
          <p:cNvSpPr txBox="1"/>
          <p:nvPr/>
        </p:nvSpPr>
        <p:spPr>
          <a:xfrm>
            <a:off x="9320439" y="4256478"/>
            <a:ext cx="2091350" cy="215444"/>
          </a:xfrm>
          <a:prstGeom prst="rect">
            <a:avLst/>
          </a:prstGeom>
          <a:noFill/>
        </p:spPr>
        <p:txBody>
          <a:bodyPr wrap="square" lIns="0" tIns="0" rIns="0" bIns="0" rtlCol="0">
            <a:spAutoFit/>
          </a:bodyPr>
          <a:lstStyle>
            <a:defPPr>
              <a:defRPr lang="en-US"/>
            </a:defPPr>
            <a:lvl1pPr>
              <a:defRPr sz="14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Retain</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Security of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supply</a:t>
            </a:r>
            <a:endParaRPr kumimoji="0" lang="da-DK" sz="1400" b="1" i="0" u="none" strike="noStrike" kern="1200" cap="none" spc="0" normalizeH="0" baseline="0" noProof="0" dirty="0">
              <a:ln>
                <a:noFill/>
              </a:ln>
              <a:solidFill>
                <a:srgbClr val="0A515D"/>
              </a:solidFill>
              <a:effectLst/>
              <a:uLnTx/>
              <a:uFillTx/>
              <a:latin typeface="Calibri Light"/>
              <a:ea typeface="+mn-ea"/>
              <a:cs typeface="+mn-cs"/>
            </a:endParaRPr>
          </a:p>
        </p:txBody>
      </p:sp>
      <p:sp>
        <p:nvSpPr>
          <p:cNvPr id="53" name="Tekstfelt 52">
            <a:extLst>
              <a:ext uri="{FF2B5EF4-FFF2-40B4-BE49-F238E27FC236}">
                <a16:creationId xmlns:a16="http://schemas.microsoft.com/office/drawing/2014/main" id="{EC34B702-9395-8732-4066-EEA9C3DD4CAE}"/>
              </a:ext>
            </a:extLst>
          </p:cNvPr>
          <p:cNvSpPr txBox="1"/>
          <p:nvPr/>
        </p:nvSpPr>
        <p:spPr>
          <a:xfrm>
            <a:off x="9320439" y="4926968"/>
            <a:ext cx="2091350" cy="430887"/>
          </a:xfrm>
          <a:prstGeom prst="rect">
            <a:avLst/>
          </a:prstGeom>
          <a:noFill/>
        </p:spPr>
        <p:txBody>
          <a:bodyPr wrap="square" lIns="0" tIns="0" rIns="0" bIns="0" rtlCol="0">
            <a:spAutoFit/>
          </a:bodyPr>
          <a:lstStyle>
            <a:defPPr>
              <a:defRPr lang="en-US"/>
            </a:defPPr>
            <a:lvl1pPr>
              <a:defRPr sz="14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Avoid</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cascading</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of incidents and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enlargement</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of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faults</a:t>
            </a:r>
            <a:endParaRPr kumimoji="0" lang="da-DK" sz="1400" b="1" i="0" u="none" strike="noStrike" kern="1200" cap="none" spc="0" normalizeH="0" baseline="0" noProof="0" dirty="0">
              <a:ln>
                <a:noFill/>
              </a:ln>
              <a:solidFill>
                <a:srgbClr val="0A515D"/>
              </a:solidFill>
              <a:effectLst/>
              <a:uLnTx/>
              <a:uFillTx/>
              <a:latin typeface="Calibri Light"/>
              <a:ea typeface="+mn-ea"/>
              <a:cs typeface="+mn-cs"/>
            </a:endParaRPr>
          </a:p>
        </p:txBody>
      </p:sp>
      <p:sp>
        <p:nvSpPr>
          <p:cNvPr id="54" name="Tekstfelt 53">
            <a:extLst>
              <a:ext uri="{FF2B5EF4-FFF2-40B4-BE49-F238E27FC236}">
                <a16:creationId xmlns:a16="http://schemas.microsoft.com/office/drawing/2014/main" id="{8701A2E7-73BC-5A72-B160-73A9F2F9B947}"/>
              </a:ext>
            </a:extLst>
          </p:cNvPr>
          <p:cNvSpPr txBox="1"/>
          <p:nvPr/>
        </p:nvSpPr>
        <p:spPr>
          <a:xfrm>
            <a:off x="9306931" y="5597457"/>
            <a:ext cx="2512857" cy="430887"/>
          </a:xfrm>
          <a:prstGeom prst="rect">
            <a:avLst/>
          </a:prstGeom>
          <a:noFill/>
        </p:spPr>
        <p:txBody>
          <a:bodyPr wrap="square" lIns="0" tIns="0" rIns="0" bIns="0" rtlCol="0">
            <a:spAutoFit/>
          </a:bodyPr>
          <a:lstStyle>
            <a:defPPr>
              <a:defRPr lang="en-US"/>
            </a:defPPr>
            <a:lvl1pPr>
              <a:defRPr sz="14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Follow-up</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 and </a:t>
            </a:r>
            <a:r>
              <a:rPr kumimoji="0" lang="da-DK" sz="1400" b="1" i="0" u="none" strike="noStrike" kern="1200" cap="none" spc="0" normalizeH="0" baseline="0" noProof="0" dirty="0" err="1">
                <a:ln>
                  <a:noFill/>
                </a:ln>
                <a:solidFill>
                  <a:srgbClr val="0A515D"/>
                </a:solidFill>
                <a:effectLst/>
                <a:uLnTx/>
                <a:uFillTx/>
                <a:latin typeface="Calibri Light"/>
                <a:ea typeface="+mn-ea"/>
                <a:cs typeface="+mn-cs"/>
              </a:rPr>
              <a:t>analyz</a:t>
            </a:r>
            <a:r>
              <a:rPr lang="da-DK" b="1" dirty="0">
                <a:solidFill>
                  <a:srgbClr val="0A515D"/>
                </a:solidFill>
                <a:latin typeface="Calibri Light"/>
              </a:rPr>
              <a:t>e</a:t>
            </a:r>
            <a:r>
              <a:rPr kumimoji="0" lang="da-DK" sz="1400" b="1" i="0" u="none" strike="noStrike" kern="1200" cap="none" spc="0" normalizeH="0" baseline="0" noProof="0" dirty="0">
                <a:ln>
                  <a:noFill/>
                </a:ln>
                <a:solidFill>
                  <a:srgbClr val="0A515D"/>
                </a:solidFill>
                <a:effectLst/>
                <a:uLnTx/>
                <a:uFillTx/>
                <a:latin typeface="Calibri Light"/>
                <a:ea typeface="+mn-ea"/>
                <a:cs typeface="+mn-cs"/>
              </a:rPr>
              <a:t> </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events </a:t>
            </a:r>
            <a:br>
              <a:rPr kumimoji="0" lang="da-DK" sz="1400" b="0" i="0" u="none" strike="noStrike" kern="1200" cap="none" spc="0" normalizeH="0" baseline="0" noProof="0" dirty="0">
                <a:ln>
                  <a:noFill/>
                </a:ln>
                <a:solidFill>
                  <a:srgbClr val="008B8B"/>
                </a:solidFill>
                <a:effectLst/>
                <a:uLnTx/>
                <a:uFillTx/>
                <a:latin typeface="Calibri Light"/>
                <a:ea typeface="+mn-ea"/>
                <a:cs typeface="+mn-cs"/>
              </a:rPr>
            </a:br>
            <a:r>
              <a:rPr kumimoji="0" lang="da-DK" sz="1400" b="0" i="0" u="none" strike="noStrike" kern="1200" cap="none" spc="0" normalizeH="0" baseline="0" noProof="0" dirty="0">
                <a:ln>
                  <a:noFill/>
                </a:ln>
                <a:solidFill>
                  <a:srgbClr val="008B8B"/>
                </a:solidFill>
                <a:effectLst/>
                <a:uLnTx/>
                <a:uFillTx/>
                <a:latin typeface="Calibri Light"/>
                <a:ea typeface="+mn-ea"/>
                <a:cs typeface="+mn-cs"/>
              </a:rPr>
              <a:t>for </a:t>
            </a:r>
            <a:r>
              <a:rPr kumimoji="0" lang="da-DK" sz="1400" b="0" i="0" u="none" strike="noStrike" kern="1200" cap="none" spc="0" normalizeH="0" baseline="0" noProof="0" dirty="0" err="1">
                <a:ln>
                  <a:noFill/>
                </a:ln>
                <a:solidFill>
                  <a:srgbClr val="008B8B"/>
                </a:solidFill>
                <a:effectLst/>
                <a:uLnTx/>
                <a:uFillTx/>
                <a:latin typeface="Calibri Light"/>
                <a:ea typeface="+mn-ea"/>
                <a:cs typeface="+mn-cs"/>
              </a:rPr>
              <a:t>improving</a:t>
            </a:r>
            <a:r>
              <a:rPr kumimoji="0" lang="da-DK" sz="1400" b="0" i="0" u="none" strike="noStrike" kern="1200" cap="none" spc="0" normalizeH="0" baseline="0" noProof="0" dirty="0">
                <a:ln>
                  <a:noFill/>
                </a:ln>
                <a:solidFill>
                  <a:srgbClr val="008B8B"/>
                </a:solidFill>
                <a:effectLst/>
                <a:uLnTx/>
                <a:uFillTx/>
                <a:latin typeface="Calibri Light"/>
                <a:ea typeface="+mn-ea"/>
                <a:cs typeface="+mn-cs"/>
              </a:rPr>
              <a:t> and learning</a:t>
            </a:r>
            <a:endParaRPr kumimoji="0" lang="da-DK" sz="1400" b="1" i="0" u="none" strike="noStrike" kern="1200" cap="none" spc="0" normalizeH="0" baseline="0" noProof="0" dirty="0">
              <a:ln>
                <a:noFill/>
              </a:ln>
              <a:solidFill>
                <a:srgbClr val="0A515D"/>
              </a:solidFill>
              <a:effectLst/>
              <a:uLnTx/>
              <a:uFillTx/>
              <a:latin typeface="Calibri Light"/>
              <a:ea typeface="+mn-ea"/>
              <a:cs typeface="+mn-cs"/>
            </a:endParaRPr>
          </a:p>
        </p:txBody>
      </p:sp>
    </p:spTree>
    <p:extLst>
      <p:ext uri="{BB962C8B-B14F-4D97-AF65-F5344CB8AC3E}">
        <p14:creationId xmlns:p14="http://schemas.microsoft.com/office/powerpoint/2010/main" val="3494832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2DE857-ED83-A7DB-3ECE-A8C6E5A9FD0F}"/>
              </a:ext>
            </a:extLst>
          </p:cNvPr>
          <p:cNvSpPr>
            <a:spLocks noGrp="1"/>
          </p:cNvSpPr>
          <p:nvPr>
            <p:ph type="title"/>
          </p:nvPr>
        </p:nvSpPr>
        <p:spPr>
          <a:xfrm>
            <a:off x="1021378" y="669555"/>
            <a:ext cx="10214464" cy="383994"/>
          </a:xfrm>
        </p:spPr>
        <p:txBody>
          <a:bodyPr/>
          <a:lstStyle/>
          <a:p>
            <a:r>
              <a:rPr lang="da-DK" sz="2000" dirty="0">
                <a:solidFill>
                  <a:schemeClr val="accent5"/>
                </a:solidFill>
              </a:rPr>
              <a:t>ELECTRICITY CONSUMPTION AND PRODUCTION CAPACITY </a:t>
            </a:r>
          </a:p>
        </p:txBody>
      </p:sp>
      <p:pic>
        <p:nvPicPr>
          <p:cNvPr id="5" name="Billede 4">
            <a:extLst>
              <a:ext uri="{FF2B5EF4-FFF2-40B4-BE49-F238E27FC236}">
                <a16:creationId xmlns:a16="http://schemas.microsoft.com/office/drawing/2014/main" id="{8FB8106D-D07E-6214-C02F-FF395E994BF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94874" y="2492899"/>
            <a:ext cx="4997213" cy="3831197"/>
          </a:xfrm>
          <a:prstGeom prst="rect">
            <a:avLst/>
          </a:prstGeom>
        </p:spPr>
      </p:pic>
      <p:pic>
        <p:nvPicPr>
          <p:cNvPr id="7" name="Billede 6">
            <a:extLst>
              <a:ext uri="{FF2B5EF4-FFF2-40B4-BE49-F238E27FC236}">
                <a16:creationId xmlns:a16="http://schemas.microsoft.com/office/drawing/2014/main" id="{45DFB452-970A-9B13-919E-1F352E014DD1}"/>
              </a:ext>
            </a:extLst>
          </p:cNvPr>
          <p:cNvPicPr>
            <a:picLocks noChangeAspect="1"/>
          </p:cNvPicPr>
          <p:nvPr/>
        </p:nvPicPr>
        <p:blipFill>
          <a:blip r:embed="rId4">
            <a:extLst>
              <a:ext uri="{28A0092B-C50C-407E-A947-70E740481C1C}">
                <a14:useLocalDpi xmlns:a14="http://schemas.microsoft.com/office/drawing/2010/main" val="0"/>
              </a:ext>
            </a:extLst>
          </a:blip>
          <a:srcRect l="1390" r="1390"/>
          <a:stretch/>
        </p:blipFill>
        <p:spPr>
          <a:xfrm>
            <a:off x="6605195" y="2469293"/>
            <a:ext cx="4915477" cy="3876319"/>
          </a:xfrm>
          <a:prstGeom prst="rect">
            <a:avLst/>
          </a:prstGeom>
        </p:spPr>
      </p:pic>
      <p:sp>
        <p:nvSpPr>
          <p:cNvPr id="3" name="Titel 1">
            <a:extLst>
              <a:ext uri="{FF2B5EF4-FFF2-40B4-BE49-F238E27FC236}">
                <a16:creationId xmlns:a16="http://schemas.microsoft.com/office/drawing/2014/main" id="{5335643D-151F-BBE4-38B1-F9EE8D770E74}"/>
              </a:ext>
            </a:extLst>
          </p:cNvPr>
          <p:cNvSpPr txBox="1">
            <a:spLocks/>
          </p:cNvSpPr>
          <p:nvPr/>
        </p:nvSpPr>
        <p:spPr>
          <a:xfrm>
            <a:off x="994874" y="806089"/>
            <a:ext cx="10214464" cy="1261870"/>
          </a:xfrm>
          <a:prstGeom prst="rect">
            <a:avLst/>
          </a:prstGeom>
        </p:spPr>
        <p:txBody>
          <a:bodyPr vert="horz" lIns="91440" tIns="45720" rIns="91440" bIns="45720" rtlCol="0" anchor="b">
            <a:noAutofit/>
          </a:bodyPr>
          <a:lstStyle>
            <a:lvl1pPr algn="l" defTabSz="914400" rtl="0" eaLnBrk="1" latinLnBrk="0" hangingPunct="1">
              <a:lnSpc>
                <a:spcPts val="4000"/>
              </a:lnSpc>
              <a:spcBef>
                <a:spcPct val="0"/>
              </a:spcBef>
              <a:buNone/>
              <a:defRPr sz="4000" b="0" i="0" kern="1200" cap="all" baseline="0">
                <a:solidFill>
                  <a:schemeClr val="accent1"/>
                </a:solidFill>
                <a:latin typeface="Calibri Light" panose="020F0302020204030204" pitchFamily="34" charset="0"/>
                <a:ea typeface="+mj-ea"/>
                <a:cs typeface="Calibri Light" panose="020F0302020204030204" pitchFamily="34" charset="0"/>
              </a:defRPr>
            </a:lvl1pPr>
          </a:lstStyle>
          <a:p>
            <a:r>
              <a:rPr lang="da-DK" dirty="0">
                <a:solidFill>
                  <a:schemeClr val="accent2"/>
                </a:solidFill>
              </a:rPr>
              <a:t>RENEWABLE ENERGY PRODUCTION AND ELECTRIFICATION MUST GO HAND IN HAND</a:t>
            </a:r>
          </a:p>
        </p:txBody>
      </p:sp>
    </p:spTree>
    <p:extLst>
      <p:ext uri="{BB962C8B-B14F-4D97-AF65-F5344CB8AC3E}">
        <p14:creationId xmlns:p14="http://schemas.microsoft.com/office/powerpoint/2010/main" val="3364438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E6B15857-FF34-961E-B01D-EAB049C48B2B}"/>
              </a:ext>
            </a:extLst>
          </p:cNvPr>
          <p:cNvSpPr>
            <a:spLocks noGrp="1"/>
          </p:cNvSpPr>
          <p:nvPr>
            <p:ph type="body" sz="quarter" idx="11"/>
          </p:nvPr>
        </p:nvSpPr>
        <p:spPr/>
        <p:txBody>
          <a:bodyPr/>
          <a:lstStyle/>
          <a:p>
            <a:r>
              <a:rPr lang="da-DK" dirty="0"/>
              <a:t>KWI@energinet.dk</a:t>
            </a:r>
          </a:p>
        </p:txBody>
      </p:sp>
    </p:spTree>
    <p:extLst>
      <p:ext uri="{BB962C8B-B14F-4D97-AF65-F5344CB8AC3E}">
        <p14:creationId xmlns:p14="http://schemas.microsoft.com/office/powerpoint/2010/main" val="892060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inet templates">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2B3D7A74-2AD2-5146-BEBD-8855304F168E}" vid="{2217B3B7-8824-4642-9CB9-AE768D595932}"/>
    </a:ext>
  </a:extLst>
</a:theme>
</file>

<file path=ppt/theme/theme2.xml><?xml version="1.0" encoding="utf-8"?>
<a:theme xmlns:a="http://schemas.openxmlformats.org/drawingml/2006/main" name="1_Energinet templates">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4" id="{C86BB850-651B-B547-A5D4-F04B1D1D1E19}" vid="{AAAFD527-505D-594D-AF4A-D6A652B7415F}"/>
    </a:ext>
  </a:extLst>
</a:theme>
</file>

<file path=ppt/theme/theme3.xml><?xml version="1.0" encoding="utf-8"?>
<a:theme xmlns:a="http://schemas.openxmlformats.org/drawingml/2006/main" name="Pause, afrunding, sikkerhed">
  <a:themeElements>
    <a:clrScheme name="Energinet1">
      <a:dk1>
        <a:srgbClr val="000000"/>
      </a:dk1>
      <a:lt1>
        <a:srgbClr val="FFFFFF"/>
      </a:lt1>
      <a:dk2>
        <a:srgbClr val="006C5F"/>
      </a:dk2>
      <a:lt2>
        <a:srgbClr val="047783"/>
      </a:lt2>
      <a:accent1>
        <a:srgbClr val="00A58C"/>
      </a:accent1>
      <a:accent2>
        <a:srgbClr val="0A515D"/>
      </a:accent2>
      <a:accent3>
        <a:srgbClr val="FFD424"/>
      </a:accent3>
      <a:accent4>
        <a:srgbClr val="A0CD92"/>
      </a:accent4>
      <a:accent5>
        <a:srgbClr val="00837C"/>
      </a:accent5>
      <a:accent6>
        <a:srgbClr val="699E9F"/>
      </a:accent6>
      <a:hlink>
        <a:srgbClr val="00A98F"/>
      </a:hlink>
      <a:folHlink>
        <a:srgbClr val="00A6BC"/>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000" dirty="0" err="1" smtClean="0">
            <a:latin typeface="+mj-lt"/>
          </a:defRPr>
        </a:defPPr>
      </a:lstStyle>
    </a:txDef>
  </a:objectDefaults>
  <a:extraClrSchemeLst/>
  <a:extLst>
    <a:ext uri="{05A4C25C-085E-4340-85A3-A5531E510DB2}">
      <thm15:themeFamily xmlns:thm15="http://schemas.microsoft.com/office/thememl/2012/main" name="Energinet-skabelon-NY-M365" id="{6422E400-62E0-0848-9CCE-864E22285D9B}" vid="{67C67D9D-9FBF-BE4B-87DD-CED123F593DE}"/>
    </a:ext>
  </a:extLst>
</a:theme>
</file>

<file path=ppt/theme/theme4.xml><?xml version="1.0" encoding="utf-8"?>
<a:theme xmlns:a="http://schemas.openxmlformats.org/drawingml/2006/main" name="Alm tekst">
  <a:themeElements>
    <a:clrScheme name="Energinet1">
      <a:dk1>
        <a:srgbClr val="000000"/>
      </a:dk1>
      <a:lt1>
        <a:srgbClr val="FFFFFF"/>
      </a:lt1>
      <a:dk2>
        <a:srgbClr val="006C5F"/>
      </a:dk2>
      <a:lt2>
        <a:srgbClr val="047783"/>
      </a:lt2>
      <a:accent1>
        <a:srgbClr val="00A58C"/>
      </a:accent1>
      <a:accent2>
        <a:srgbClr val="0A515D"/>
      </a:accent2>
      <a:accent3>
        <a:srgbClr val="FFD424"/>
      </a:accent3>
      <a:accent4>
        <a:srgbClr val="A0CD92"/>
      </a:accent4>
      <a:accent5>
        <a:srgbClr val="00837C"/>
      </a:accent5>
      <a:accent6>
        <a:srgbClr val="699E9F"/>
      </a:accent6>
      <a:hlink>
        <a:srgbClr val="00A98F"/>
      </a:hlink>
      <a:folHlink>
        <a:srgbClr val="00A6BC"/>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0" marR="0" indent="0" algn="l" defTabSz="914400" rtl="0" eaLnBrk="1" fontAlgn="auto" latinLnBrk="0" hangingPunct="1">
          <a:lnSpc>
            <a:spcPts val="2200"/>
          </a:lnSpc>
          <a:spcBef>
            <a:spcPts val="0"/>
          </a:spcBef>
          <a:spcAft>
            <a:spcPts val="0"/>
          </a:spcAft>
          <a:buClrTx/>
          <a:buSzTx/>
          <a:buFont typeface="Arial" panose="020B0604020202020204" pitchFamily="34" charset="0"/>
          <a:buNone/>
          <a:tabLst/>
          <a:defRPr kumimoji="0" sz="2000" b="0" i="0" u="none" strike="noStrike" kern="1200" cap="none" spc="0" normalizeH="0" baseline="0" noProof="0" dirty="0" err="1" smtClean="0">
            <a:ln>
              <a:noFill/>
            </a:ln>
            <a:solidFill>
              <a:srgbClr val="000000">
                <a:lumMod val="75000"/>
                <a:lumOff val="25000"/>
              </a:srgbClr>
            </a:solidFill>
            <a:effectLst/>
            <a:uLnTx/>
            <a:uFillTx/>
            <a:latin typeface="Calibri Light" panose="020F0302020204030204" pitchFamily="34" charset="0"/>
            <a:ea typeface="+mn-ea"/>
            <a:cs typeface="Calibri Light" panose="020F0302020204030204" pitchFamily="34" charset="0"/>
          </a:defRPr>
        </a:defPPr>
      </a:lstStyle>
    </a:txDef>
  </a:objectDefaults>
  <a:extraClrSchemeLst/>
  <a:extLst>
    <a:ext uri="{05A4C25C-085E-4340-85A3-A5531E510DB2}">
      <thm15:themeFamily xmlns:thm15="http://schemas.microsoft.com/office/thememl/2012/main" name="Energinet-skabelon-NY-M365" id="{6422E400-62E0-0848-9CCE-864E22285D9B}" vid="{444B0EE6-CE7B-F140-8503-088CD369C447}"/>
    </a:ext>
  </a:extLst>
</a:theme>
</file>

<file path=ppt/theme/theme5.xml><?xml version="1.0" encoding="utf-8"?>
<a:theme xmlns:a="http://schemas.openxmlformats.org/drawingml/2006/main" name="1_Forside">
  <a:themeElements>
    <a:clrScheme name="Energinet1">
      <a:dk1>
        <a:srgbClr val="000000"/>
      </a:dk1>
      <a:lt1>
        <a:srgbClr val="FFFFFF"/>
      </a:lt1>
      <a:dk2>
        <a:srgbClr val="006C5F"/>
      </a:dk2>
      <a:lt2>
        <a:srgbClr val="047783"/>
      </a:lt2>
      <a:accent1>
        <a:srgbClr val="00A58C"/>
      </a:accent1>
      <a:accent2>
        <a:srgbClr val="0A515D"/>
      </a:accent2>
      <a:accent3>
        <a:srgbClr val="FFD424"/>
      </a:accent3>
      <a:accent4>
        <a:srgbClr val="A0CD92"/>
      </a:accent4>
      <a:accent5>
        <a:srgbClr val="00837C"/>
      </a:accent5>
      <a:accent6>
        <a:srgbClr val="699E9F"/>
      </a:accent6>
      <a:hlink>
        <a:srgbClr val="00A98F"/>
      </a:hlink>
      <a:folHlink>
        <a:srgbClr val="00A6BC"/>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CE7D02C9-EE73-2248-95ED-9207D15E1825}" vid="{A02686CD-E44D-7846-B5A4-96BB03F0E1BB}"/>
    </a:ext>
  </a:extLst>
</a:theme>
</file>

<file path=ppt/theme/theme6.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BA515A7BAE2A43BBCEEFC8DB246324" ma:contentTypeVersion="16" ma:contentTypeDescription="Create a new document." ma:contentTypeScope="" ma:versionID="5a6d821fafa8c1b6c498b45dd56d542c">
  <xsd:schema xmlns:xsd="http://www.w3.org/2001/XMLSchema" xmlns:xs="http://www.w3.org/2001/XMLSchema" xmlns:p="http://schemas.microsoft.com/office/2006/metadata/properties" xmlns:ns2="57fe772f-00cf-4dad-b0cb-913608da9119" xmlns:ns3="c5f555a3-b848-4bea-9c8d-34a4da0e4343" targetNamespace="http://schemas.microsoft.com/office/2006/metadata/properties" ma:root="true" ma:fieldsID="cb514c0243f67ba30e30db0d5605bea9" ns2:_="" ns3:_="">
    <xsd:import namespace="57fe772f-00cf-4dad-b0cb-913608da9119"/>
    <xsd:import namespace="c5f555a3-b848-4bea-9c8d-34a4da0e43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fe772f-00cf-4dad-b0cb-913608da91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e864938-2603-473d-8bcd-f12a868843d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f555a3-b848-4bea-9c8d-34a4da0e43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afdac5b-07eb-4f5e-9c79-778fcf53685d}" ma:internalName="TaxCatchAll" ma:showField="CatchAllData" ma:web="c5f555a3-b848-4bea-9c8d-34a4da0e434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7fe772f-00cf-4dad-b0cb-913608da9119">
      <Terms xmlns="http://schemas.microsoft.com/office/infopath/2007/PartnerControls"/>
    </lcf76f155ced4ddcb4097134ff3c332f>
    <TaxCatchAll xmlns="c5f555a3-b848-4bea-9c8d-34a4da0e4343" xsi:nil="true"/>
  </documentManagement>
</p:properties>
</file>

<file path=customXml/itemProps1.xml><?xml version="1.0" encoding="utf-8"?>
<ds:datastoreItem xmlns:ds="http://schemas.openxmlformats.org/officeDocument/2006/customXml" ds:itemID="{32729442-348C-4180-A181-4283D103D24E}"/>
</file>

<file path=customXml/itemProps2.xml><?xml version="1.0" encoding="utf-8"?>
<ds:datastoreItem xmlns:ds="http://schemas.openxmlformats.org/officeDocument/2006/customXml" ds:itemID="{B233F113-8445-4CA3-B5A6-55C483F2E1CF}"/>
</file>

<file path=customXml/itemProps3.xml><?xml version="1.0" encoding="utf-8"?>
<ds:datastoreItem xmlns:ds="http://schemas.openxmlformats.org/officeDocument/2006/customXml" ds:itemID="{5AA14FC4-9CF2-4037-840D-F7C3B3E72375}"/>
</file>

<file path=docProps/app.xml><?xml version="1.0" encoding="utf-8"?>
<Properties xmlns="http://schemas.openxmlformats.org/officeDocument/2006/extended-properties" xmlns:vt="http://schemas.openxmlformats.org/officeDocument/2006/docPropsVTypes">
  <Template/>
  <TotalTime>1825</TotalTime>
  <Words>462</Words>
  <Application>Microsoft Office PowerPoint</Application>
  <PresentationFormat>Widescreen</PresentationFormat>
  <Paragraphs>61</Paragraphs>
  <Slides>7</Slides>
  <Notes>5</Notes>
  <HiddenSlides>0</HiddenSlides>
  <MMClips>0</MMClips>
  <ScaleCrop>false</ScaleCrop>
  <HeadingPairs>
    <vt:vector size="8" baseType="variant">
      <vt:variant>
        <vt:lpstr>Benyttede skrifttyper</vt:lpstr>
      </vt:variant>
      <vt:variant>
        <vt:i4>7</vt:i4>
      </vt:variant>
      <vt:variant>
        <vt:lpstr>Tema</vt:lpstr>
      </vt:variant>
      <vt:variant>
        <vt:i4>5</vt:i4>
      </vt:variant>
      <vt:variant>
        <vt:lpstr>Integrerede OLE-servere</vt:lpstr>
      </vt:variant>
      <vt:variant>
        <vt:i4>1</vt:i4>
      </vt:variant>
      <vt:variant>
        <vt:lpstr>Slidetitler</vt:lpstr>
      </vt:variant>
      <vt:variant>
        <vt:i4>7</vt:i4>
      </vt:variant>
    </vt:vector>
  </HeadingPairs>
  <TitlesOfParts>
    <vt:vector size="20" baseType="lpstr">
      <vt:lpstr>Arial</vt:lpstr>
      <vt:lpstr>Calibri</vt:lpstr>
      <vt:lpstr>Calibri Light</vt:lpstr>
      <vt:lpstr>Calibri Light</vt:lpstr>
      <vt:lpstr>Courier New</vt:lpstr>
      <vt:lpstr>Roboto</vt:lpstr>
      <vt:lpstr>Segoe Print</vt:lpstr>
      <vt:lpstr>Energinet templates</vt:lpstr>
      <vt:lpstr>1_Energinet templates</vt:lpstr>
      <vt:lpstr>Pause, afrunding, sikkerhed</vt:lpstr>
      <vt:lpstr>Alm tekst</vt:lpstr>
      <vt:lpstr>1_Forside</vt:lpstr>
      <vt:lpstr>think-cell Slide</vt:lpstr>
      <vt:lpstr>Running a high wind energy electric system  in a secure way</vt:lpstr>
      <vt:lpstr>PowerPoint-præsentation</vt:lpstr>
      <vt:lpstr>PowerPoint-præsentation</vt:lpstr>
      <vt:lpstr>PowerPoint-præsentation</vt:lpstr>
      <vt:lpstr>Requirements and grid codes</vt:lpstr>
      <vt:lpstr>ELECTRICITY CONSUMPTION AND PRODUCTION CAPACITY </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ofie Kragh</dc:creator>
  <cp:lastModifiedBy>Katrine Høgh Rasmussen</cp:lastModifiedBy>
  <cp:revision>12</cp:revision>
  <dcterms:created xsi:type="dcterms:W3CDTF">2021-05-06T11:59:14Z</dcterms:created>
  <dcterms:modified xsi:type="dcterms:W3CDTF">2025-10-13T05:4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d">
    <vt:lpwstr>5579104</vt:lpwstr>
  </property>
  <property fmtid="{D5CDD505-2E9C-101B-9397-08002B2CF9AE}" pid="3" name="verId">
    <vt:lpwstr>5478208</vt:lpwstr>
  </property>
  <property fmtid="{D5CDD505-2E9C-101B-9397-08002B2CF9AE}" pid="4" name="templateId">
    <vt:lpwstr>200061</vt:lpwstr>
  </property>
  <property fmtid="{D5CDD505-2E9C-101B-9397-08002B2CF9AE}" pid="5" name="fileId">
    <vt:lpwstr>9616371</vt:lpwstr>
  </property>
  <property fmtid="{D5CDD505-2E9C-101B-9397-08002B2CF9AE}" pid="6" name="filePath">
    <vt:lpwstr>
    </vt:lpwstr>
  </property>
  <property fmtid="{D5CDD505-2E9C-101B-9397-08002B2CF9AE}" pid="7" name="templateFilePath">
    <vt:lpwstr>c:\windows\system32\inetsrv\DK_16.9_PowerPoint-skabelon.potx</vt:lpwstr>
  </property>
  <property fmtid="{D5CDD505-2E9C-101B-9397-08002B2CF9AE}" pid="8" name="filePathOneNote">
    <vt:lpwstr>
    </vt:lpwstr>
  </property>
  <property fmtid="{D5CDD505-2E9C-101B-9397-08002B2CF9AE}" pid="9" name="fileName">
    <vt:lpwstr>22_09639-22 Præsentation til møde med Novo 27nov 9616371_5478208_0.PPTX</vt:lpwstr>
  </property>
  <property fmtid="{D5CDD505-2E9C-101B-9397-08002B2CF9AE}" pid="10" name="comment">
    <vt:lpwstr>Præsentation til møde med Novo 27nov</vt:lpwstr>
  </property>
  <property fmtid="{D5CDD505-2E9C-101B-9397-08002B2CF9AE}" pid="11" name="sourceId">
    <vt:lpwstr>{0(8)}</vt:lpwstr>
  </property>
  <property fmtid="{D5CDD505-2E9C-101B-9397-08002B2CF9AE}" pid="12" name="module">
    <vt:lpwstr>{0(9)}</vt:lpwstr>
  </property>
  <property fmtid="{D5CDD505-2E9C-101B-9397-08002B2CF9AE}" pid="13" name="customParams">
    <vt:lpwstr>
    </vt:lpwstr>
  </property>
  <property fmtid="{D5CDD505-2E9C-101B-9397-08002B2CF9AE}" pid="14" name="createdBy">
    <vt:lpwstr>Henrik Skotte (HKT)</vt:lpwstr>
  </property>
  <property fmtid="{D5CDD505-2E9C-101B-9397-08002B2CF9AE}" pid="15" name="modifiedBy">
    <vt:lpwstr>Henrik Skotte (HKT)</vt:lpwstr>
  </property>
  <property fmtid="{D5CDD505-2E9C-101B-9397-08002B2CF9AE}" pid="16" name="serverName">
    <vt:lpwstr>
    </vt:lpwstr>
  </property>
  <property fmtid="{D5CDD505-2E9C-101B-9397-08002B2CF9AE}" pid="17" name="server">
    <vt:lpwstr>esdh.si.energinet.local</vt:lpwstr>
  </property>
  <property fmtid="{D5CDD505-2E9C-101B-9397-08002B2CF9AE}" pid="18" name="protocol">
    <vt:lpwstr>
    </vt:lpwstr>
  </property>
  <property fmtid="{D5CDD505-2E9C-101B-9397-08002B2CF9AE}" pid="19" name="site">
    <vt:lpwstr>
    </vt:lpwstr>
  </property>
  <property fmtid="{D5CDD505-2E9C-101B-9397-08002B2CF9AE}" pid="20" name="externalUser">
    <vt:lpwstr>
    </vt:lpwstr>
  </property>
  <property fmtid="{D5CDD505-2E9C-101B-9397-08002B2CF9AE}" pid="21" name="option">
    <vt:lpwstr>true</vt:lpwstr>
  </property>
  <property fmtid="{D5CDD505-2E9C-101B-9397-08002B2CF9AE}" pid="22" name="currentVerId">
    <vt:lpwstr>5478208</vt:lpwstr>
  </property>
  <property fmtid="{D5CDD505-2E9C-101B-9397-08002B2CF9AE}" pid="23" name="MSIP_Label_388507bc-e780-4892-8083-f8b069738aec_Enabled">
    <vt:lpwstr>true</vt:lpwstr>
  </property>
  <property fmtid="{D5CDD505-2E9C-101B-9397-08002B2CF9AE}" pid="24" name="MSIP_Label_388507bc-e780-4892-8083-f8b069738aec_SetDate">
    <vt:lpwstr>2024-01-10T13:36:04Z</vt:lpwstr>
  </property>
  <property fmtid="{D5CDD505-2E9C-101B-9397-08002B2CF9AE}" pid="25" name="MSIP_Label_388507bc-e780-4892-8083-f8b069738aec_Method">
    <vt:lpwstr>Privileged</vt:lpwstr>
  </property>
  <property fmtid="{D5CDD505-2E9C-101B-9397-08002B2CF9AE}" pid="26" name="MSIP_Label_388507bc-e780-4892-8083-f8b069738aec_Name">
    <vt:lpwstr>Til arbejdsbrug</vt:lpwstr>
  </property>
  <property fmtid="{D5CDD505-2E9C-101B-9397-08002B2CF9AE}" pid="27" name="MSIP_Label_388507bc-e780-4892-8083-f8b069738aec_SiteId">
    <vt:lpwstr>f7619355-6c67-4100-9a78-1847f30742e2</vt:lpwstr>
  </property>
  <property fmtid="{D5CDD505-2E9C-101B-9397-08002B2CF9AE}" pid="28" name="MSIP_Label_388507bc-e780-4892-8083-f8b069738aec_ActionId">
    <vt:lpwstr>9a2738e7-47bf-4498-951a-3704370f3150</vt:lpwstr>
  </property>
  <property fmtid="{D5CDD505-2E9C-101B-9397-08002B2CF9AE}" pid="29" name="MSIP_Label_388507bc-e780-4892-8083-f8b069738aec_ContentBits">
    <vt:lpwstr>0</vt:lpwstr>
  </property>
  <property fmtid="{D5CDD505-2E9C-101B-9397-08002B2CF9AE}" pid="30" name="ContentTypeId">
    <vt:lpwstr>0x01010063BA515A7BAE2A43BBCEEFC8DB246324</vt:lpwstr>
  </property>
</Properties>
</file>